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20"/>
  </p:notesMasterIdLst>
  <p:sldIdLst>
    <p:sldId id="256" r:id="rId2"/>
    <p:sldId id="314" r:id="rId3"/>
    <p:sldId id="311" r:id="rId4"/>
    <p:sldId id="312" r:id="rId5"/>
    <p:sldId id="315" r:id="rId6"/>
    <p:sldId id="430" r:id="rId7"/>
    <p:sldId id="433" r:id="rId8"/>
    <p:sldId id="434" r:id="rId9"/>
    <p:sldId id="431" r:id="rId10"/>
    <p:sldId id="435" r:id="rId11"/>
    <p:sldId id="436" r:id="rId12"/>
    <p:sldId id="418" r:id="rId13"/>
    <p:sldId id="429" r:id="rId14"/>
    <p:sldId id="425" r:id="rId15"/>
    <p:sldId id="419" r:id="rId16"/>
    <p:sldId id="423" r:id="rId17"/>
    <p:sldId id="424" r:id="rId18"/>
    <p:sldId id="261" r:id="rId19"/>
  </p:sldIdLst>
  <p:sldSz cx="12192000" cy="6858000"/>
  <p:notesSz cx="6858000" cy="9144000"/>
  <p:custDataLst>
    <p:tags r:id="rId2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93">
          <p15:clr>
            <a:srgbClr val="A4A3A4"/>
          </p15:clr>
        </p15:guide>
        <p15:guide id="2" pos="38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5C"/>
    <a:srgbClr val="06D24C"/>
    <a:srgbClr val="035920"/>
    <a:srgbClr val="F6F5F3"/>
    <a:srgbClr val="04862F"/>
    <a:srgbClr val="07DB4E"/>
    <a:srgbClr val="08396E"/>
    <a:srgbClr val="0519AB"/>
    <a:srgbClr val="06BE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182" autoAdjust="0"/>
  </p:normalViewPr>
  <p:slideViewPr>
    <p:cSldViewPr snapToGrid="0">
      <p:cViewPr varScale="1">
        <p:scale>
          <a:sx n="86" d="100"/>
          <a:sy n="86" d="100"/>
        </p:scale>
        <p:origin x="710" y="53"/>
      </p:cViewPr>
      <p:guideLst>
        <p:guide orient="horz" pos="2193"/>
        <p:guide pos="3807"/>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1/12/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14897839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rgbClr val="00002E"/>
        </a:solidFill>
        <a:effectLst/>
      </p:bgPr>
    </p:bg>
    <p:spTree>
      <p:nvGrpSpPr>
        <p:cNvPr id="1" name=""/>
        <p:cNvGrpSpPr/>
        <p:nvPr/>
      </p:nvGrpSpPr>
      <p:grpSpPr>
        <a:xfrm>
          <a:off x="0" y="0"/>
          <a:ext cx="0" cy="0"/>
          <a:chOff x="0" y="0"/>
          <a:chExt cx="0" cy="0"/>
        </a:xfrm>
      </p:grpSpPr>
      <p:sp>
        <p:nvSpPr>
          <p:cNvPr id="8" name="Freeform 22_1"/>
          <p:cNvSpPr>
            <a:spLocks noChangeArrowheads="1"/>
          </p:cNvSpPr>
          <p:nvPr userDrawn="1"/>
        </p:nvSpPr>
        <p:spPr bwMode="auto">
          <a:xfrm>
            <a:off x="0"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a:blip r:embed="rId2">
              <a:duotone>
                <a:schemeClr val="accent2">
                  <a:shade val="45000"/>
                  <a:satMod val="135000"/>
                </a:schemeClr>
                <a:prstClr val="white"/>
              </a:duotone>
            </a:blip>
            <a:srcRect/>
            <a:stretch>
              <a:fillRect t="-28757" b="-15909"/>
            </a:stretch>
          </a:blipFill>
          <a:ln>
            <a:noFill/>
          </a:ln>
        </p:spPr>
        <p:txBody>
          <a:bodyPr vert="horz" wrap="square" lIns="91440" tIns="45720" rIns="91440" bIns="45720" numCol="1" anchor="t" anchorCtr="0" compatLnSpc="1">
            <a:noAutofit/>
          </a:bodyPr>
          <a:lstStyle/>
          <a:p>
            <a:endParaRPr lang="zh-CN" altLang="en-US"/>
          </a:p>
        </p:txBody>
      </p:sp>
      <p:sp>
        <p:nvSpPr>
          <p:cNvPr id="23" name="任意多边形: 形状 22"/>
          <p:cNvSpPr>
            <a:spLocks noChangeArrowheads="1"/>
          </p:cNvSpPr>
          <p:nvPr userDrawn="1"/>
        </p:nvSpPr>
        <p:spPr bwMode="auto">
          <a:xfrm>
            <a:off x="-794"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solidFill>
            <a:srgbClr val="FFC000">
              <a:alpha val="20000"/>
            </a:srgbClr>
          </a:solidFill>
          <a:ln>
            <a:noFill/>
          </a:ln>
        </p:spPr>
        <p:txBody>
          <a:bodyPr vert="horz" wrap="square" lIns="91440" tIns="45720" rIns="91440" bIns="45720" numCol="1" anchor="t" anchorCtr="0" compatLnSpc="1">
            <a:noAutofit/>
          </a:bodyPr>
          <a:lstStyle/>
          <a:p>
            <a:endParaRPr lang="zh-CN" altLang="en-US"/>
          </a:p>
        </p:txBody>
      </p:sp>
      <p:sp>
        <p:nvSpPr>
          <p:cNvPr id="20" name="任意多边形: 形状 19"/>
          <p:cNvSpPr/>
          <p:nvPr userDrawn="1"/>
        </p:nvSpPr>
        <p:spPr bwMode="auto">
          <a:xfrm>
            <a:off x="0" y="543509"/>
            <a:ext cx="12192000" cy="6167761"/>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C000"/>
              </a:gs>
              <a:gs pos="11000">
                <a:schemeClr val="accent1"/>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
        <p:nvSpPr>
          <p:cNvPr id="12" name="文本占位符 13"/>
          <p:cNvSpPr>
            <a:spLocks noGrp="1"/>
          </p:cNvSpPr>
          <p:nvPr userDrawn="1">
            <p:ph type="body" sz="quarter" idx="10" hasCustomPrompt="1"/>
          </p:nvPr>
        </p:nvSpPr>
        <p:spPr>
          <a:xfrm>
            <a:off x="669925" y="5306656"/>
            <a:ext cx="10850563" cy="296271"/>
          </a:xfrm>
        </p:spPr>
        <p:txBody>
          <a:bodyPr vert="horz" anchor="ctr">
            <a:noAutofit/>
          </a:bodyPr>
          <a:lstStyle>
            <a:lvl1pPr marL="0" indent="0" algn="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69925" y="5602927"/>
            <a:ext cx="10850563" cy="296271"/>
          </a:xfrm>
        </p:spPr>
        <p:txBody>
          <a:bodyPr vert="horz" anchor="ctr">
            <a:noAutofit/>
          </a:bodyPr>
          <a:lstStyle>
            <a:lvl1pPr marL="0" indent="0" algn="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
        <p:nvSpPr>
          <p:cNvPr id="9801" name="副标题 2"/>
          <p:cNvSpPr>
            <a:spLocks noGrp="1"/>
          </p:cNvSpPr>
          <p:nvPr userDrawn="1">
            <p:ph type="subTitle" idx="1"/>
          </p:nvPr>
        </p:nvSpPr>
        <p:spPr>
          <a:xfrm>
            <a:off x="669925" y="4456729"/>
            <a:ext cx="10850563" cy="558799"/>
          </a:xfrm>
        </p:spPr>
        <p:txBody>
          <a:bodyPr anchor="t" anchorCtr="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669925" y="1028701"/>
            <a:ext cx="10850563" cy="3136900"/>
          </a:xfrm>
        </p:spPr>
        <p:txBody>
          <a:bodyPr anchor="b" anchorCtr="0">
            <a:normAutofit/>
          </a:bodyPr>
          <a:lstStyle>
            <a:lvl1pPr algn="l">
              <a:defRPr sz="4000">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7" name="Freeform 22_1"/>
          <p:cNvSpPr>
            <a:spLocks noChangeArrowheads="1"/>
          </p:cNvSpPr>
          <p:nvPr userDrawn="1"/>
        </p:nvSpPr>
        <p:spPr bwMode="auto">
          <a:xfrm>
            <a:off x="190500" y="3192312"/>
            <a:ext cx="12192000" cy="3429000"/>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dpi="0" rotWithShape="1">
            <a:blip r:embed="rId2">
              <a:alphaModFix amt="60000"/>
            </a:blip>
            <a:srcRect/>
            <a:stretch>
              <a:fillRect t="-93255" b="-31457"/>
            </a:stretch>
          </a:blipFill>
          <a:ln>
            <a:noFill/>
          </a:ln>
        </p:spPr>
        <p:txBody>
          <a:bodyPr vert="horz" wrap="square" lIns="91440" tIns="45720" rIns="91440" bIns="45720" numCol="1" anchor="t" anchorCtr="0" compatLnSpc="1">
            <a:noAutofit/>
          </a:bodyPr>
          <a:lstStyle/>
          <a:p>
            <a:endParaRPr lang="zh-CN" altLang="en-US" dirty="0"/>
          </a:p>
        </p:txBody>
      </p:sp>
      <p:sp>
        <p:nvSpPr>
          <p:cNvPr id="20" name="标题 1"/>
          <p:cNvSpPr>
            <a:spLocks noGrp="1"/>
          </p:cNvSpPr>
          <p:nvPr userDrawn="1">
            <p:ph type="title"/>
          </p:nvPr>
        </p:nvSpPr>
        <p:spPr>
          <a:xfrm>
            <a:off x="2488168" y="2033814"/>
            <a:ext cx="5419185" cy="895350"/>
          </a:xfrm>
        </p:spPr>
        <p:txBody>
          <a:bodyPr anchor="b">
            <a:normAutofit/>
          </a:bodyPr>
          <a:lstStyle>
            <a:lvl1pPr algn="l">
              <a:defRPr sz="2400" b="1">
                <a:solidFill>
                  <a:schemeClr val="accent3"/>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2489284" y="2929164"/>
            <a:ext cx="5419185" cy="1015623"/>
          </a:xfrm>
        </p:spPr>
        <p:txBody>
          <a:bodyPr anchor="t">
            <a:normAutofit/>
          </a:bodyPr>
          <a:lstStyle>
            <a:lvl1pPr marL="0" indent="0" algn="l">
              <a:lnSpc>
                <a:spcPct val="100000"/>
              </a:lnSpc>
              <a:buNone/>
              <a:defRPr sz="11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7" name="任意多边形: 形状 6"/>
          <p:cNvSpPr/>
          <p:nvPr userDrawn="1"/>
        </p:nvSpPr>
        <p:spPr>
          <a:xfrm>
            <a:off x="-9525" y="-9525"/>
            <a:ext cx="12220575" cy="942975"/>
          </a:xfrm>
          <a:custGeom>
            <a:avLst/>
            <a:gdLst>
              <a:gd name="connsiteX0" fmla="*/ 0 w 12220575"/>
              <a:gd name="connsiteY0" fmla="*/ 0 h 942975"/>
              <a:gd name="connsiteX1" fmla="*/ 9525 w 12220575"/>
              <a:gd name="connsiteY1" fmla="*/ 647700 h 942975"/>
              <a:gd name="connsiteX2" fmla="*/ 2686050 w 12220575"/>
              <a:gd name="connsiteY2" fmla="*/ 942975 h 942975"/>
              <a:gd name="connsiteX3" fmla="*/ 5124450 w 12220575"/>
              <a:gd name="connsiteY3" fmla="*/ 923925 h 942975"/>
              <a:gd name="connsiteX4" fmla="*/ 7277100 w 12220575"/>
              <a:gd name="connsiteY4" fmla="*/ 809625 h 942975"/>
              <a:gd name="connsiteX5" fmla="*/ 9296400 w 12220575"/>
              <a:gd name="connsiteY5" fmla="*/ 466725 h 942975"/>
              <a:gd name="connsiteX6" fmla="*/ 11325225 w 12220575"/>
              <a:gd name="connsiteY6" fmla="*/ 314325 h 942975"/>
              <a:gd name="connsiteX7" fmla="*/ 12220575 w 12220575"/>
              <a:gd name="connsiteY7" fmla="*/ 352425 h 942975"/>
              <a:gd name="connsiteX8" fmla="*/ 12182475 w 12220575"/>
              <a:gd name="connsiteY8" fmla="*/ 9525 h 942975"/>
              <a:gd name="connsiteX9" fmla="*/ 0 w 12220575"/>
              <a:gd name="connsiteY9"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0575" h="942975">
                <a:moveTo>
                  <a:pt x="0" y="0"/>
                </a:moveTo>
                <a:lnTo>
                  <a:pt x="9525" y="647700"/>
                </a:lnTo>
                <a:lnTo>
                  <a:pt x="2686050" y="942975"/>
                </a:lnTo>
                <a:lnTo>
                  <a:pt x="5124450" y="923925"/>
                </a:lnTo>
                <a:lnTo>
                  <a:pt x="7277100" y="809625"/>
                </a:lnTo>
                <a:lnTo>
                  <a:pt x="9296400" y="466725"/>
                </a:lnTo>
                <a:lnTo>
                  <a:pt x="11325225" y="314325"/>
                </a:lnTo>
                <a:lnTo>
                  <a:pt x="12220575" y="352425"/>
                </a:lnTo>
                <a:lnTo>
                  <a:pt x="12182475" y="9525"/>
                </a:lnTo>
                <a:lnTo>
                  <a:pt x="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形状 9"/>
          <p:cNvSpPr/>
          <p:nvPr userDrawn="1"/>
        </p:nvSpPr>
        <p:spPr bwMode="auto">
          <a:xfrm flipH="1" flipV="1">
            <a:off x="-1219199" y="239311"/>
            <a:ext cx="13411199" cy="801180"/>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FF00"/>
              </a:gs>
              <a:gs pos="11000">
                <a:srgbClr val="FFC000"/>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
        <p:nvSpPr>
          <p:cNvPr id="11" name="任意多边形: 形状 10"/>
          <p:cNvSpPr/>
          <p:nvPr userDrawn="1"/>
        </p:nvSpPr>
        <p:spPr>
          <a:xfrm rot="10800000">
            <a:off x="-28575" y="6321199"/>
            <a:ext cx="12220575" cy="942975"/>
          </a:xfrm>
          <a:custGeom>
            <a:avLst/>
            <a:gdLst>
              <a:gd name="connsiteX0" fmla="*/ 0 w 12220575"/>
              <a:gd name="connsiteY0" fmla="*/ 0 h 942975"/>
              <a:gd name="connsiteX1" fmla="*/ 9525 w 12220575"/>
              <a:gd name="connsiteY1" fmla="*/ 647700 h 942975"/>
              <a:gd name="connsiteX2" fmla="*/ 2686050 w 12220575"/>
              <a:gd name="connsiteY2" fmla="*/ 942975 h 942975"/>
              <a:gd name="connsiteX3" fmla="*/ 5124450 w 12220575"/>
              <a:gd name="connsiteY3" fmla="*/ 923925 h 942975"/>
              <a:gd name="connsiteX4" fmla="*/ 7277100 w 12220575"/>
              <a:gd name="connsiteY4" fmla="*/ 809625 h 942975"/>
              <a:gd name="connsiteX5" fmla="*/ 9296400 w 12220575"/>
              <a:gd name="connsiteY5" fmla="*/ 466725 h 942975"/>
              <a:gd name="connsiteX6" fmla="*/ 11325225 w 12220575"/>
              <a:gd name="connsiteY6" fmla="*/ 314325 h 942975"/>
              <a:gd name="connsiteX7" fmla="*/ 12220575 w 12220575"/>
              <a:gd name="connsiteY7" fmla="*/ 352425 h 942975"/>
              <a:gd name="connsiteX8" fmla="*/ 12182475 w 12220575"/>
              <a:gd name="connsiteY8" fmla="*/ 9525 h 942975"/>
              <a:gd name="connsiteX9" fmla="*/ 0 w 12220575"/>
              <a:gd name="connsiteY9"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20575" h="942975">
                <a:moveTo>
                  <a:pt x="0" y="0"/>
                </a:moveTo>
                <a:lnTo>
                  <a:pt x="9525" y="647700"/>
                </a:lnTo>
                <a:lnTo>
                  <a:pt x="2686050" y="942975"/>
                </a:lnTo>
                <a:lnTo>
                  <a:pt x="5124450" y="923925"/>
                </a:lnTo>
                <a:lnTo>
                  <a:pt x="7277100" y="809625"/>
                </a:lnTo>
                <a:lnTo>
                  <a:pt x="9296400" y="466725"/>
                </a:lnTo>
                <a:lnTo>
                  <a:pt x="11325225" y="314325"/>
                </a:lnTo>
                <a:lnTo>
                  <a:pt x="12220575" y="352425"/>
                </a:lnTo>
                <a:lnTo>
                  <a:pt x="12182475" y="9525"/>
                </a:lnTo>
                <a:lnTo>
                  <a:pt x="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 name="任意多边形: 形状 11"/>
          <p:cNvSpPr/>
          <p:nvPr userDrawn="1"/>
        </p:nvSpPr>
        <p:spPr bwMode="auto">
          <a:xfrm>
            <a:off x="-9525" y="6230938"/>
            <a:ext cx="12201525" cy="801179"/>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FF00"/>
              </a:gs>
              <a:gs pos="11000">
                <a:srgbClr val="FFC0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sp>
        <p:nvSpPr>
          <p:cNvPr id="2" name="文本框 1"/>
          <p:cNvSpPr txBox="1"/>
          <p:nvPr userDrawn="1"/>
        </p:nvSpPr>
        <p:spPr>
          <a:xfrm>
            <a:off x="11520488" y="6486465"/>
            <a:ext cx="671512" cy="400110"/>
          </a:xfrm>
          <a:prstGeom prst="rect">
            <a:avLst/>
          </a:prstGeom>
          <a:noFill/>
        </p:spPr>
        <p:txBody>
          <a:bodyPr wrap="square" rtlCol="0">
            <a:spAutoFit/>
          </a:bodyPr>
          <a:lstStyle/>
          <a:p>
            <a:pPr algn="ctr"/>
            <a:fld id="{379552D3-A968-4710-B841-1063F5B640DF}" type="slidenum">
              <a:rPr lang="zh-CN" altLang="en-US" sz="2000" b="1" smtClean="0">
                <a:solidFill>
                  <a:schemeClr val="accent2">
                    <a:lumMod val="50000"/>
                  </a:schemeClr>
                </a:solidFill>
              </a:rPr>
              <a:t>‹#›</a:t>
            </a:fld>
            <a:endParaRPr lang="zh-CN" altLang="en-US" b="1" dirty="0">
              <a:solidFill>
                <a:schemeClr val="accent2">
                  <a:lumMod val="50000"/>
                </a:schemeClr>
              </a:solidFill>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134410" y="24187"/>
            <a:ext cx="527050" cy="52705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E6F26766-F62E-419D-BB7F-91C9CEBCA24E}" type="datetime1">
              <a:rPr lang="zh-CN" altLang="en-US" smtClean="0"/>
              <a:t>2021/12/4</a:t>
            </a:fld>
            <a:endParaRPr lang="zh-CN" altLang="en-US"/>
          </a:p>
        </p:txBody>
      </p:sp>
      <p:sp>
        <p:nvSpPr>
          <p:cNvPr id="4" name="Footer Placeholder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chemeClr val="accent3"/>
        </a:solidFill>
        <a:effectLst/>
      </p:bgPr>
    </p:bg>
    <p:spTree>
      <p:nvGrpSpPr>
        <p:cNvPr id="1" name=""/>
        <p:cNvGrpSpPr/>
        <p:nvPr/>
      </p:nvGrpSpPr>
      <p:grpSpPr>
        <a:xfrm>
          <a:off x="0" y="0"/>
          <a:ext cx="0" cy="0"/>
          <a:chOff x="0" y="0"/>
          <a:chExt cx="0" cy="0"/>
        </a:xfrm>
      </p:grpSpPr>
      <p:sp>
        <p:nvSpPr>
          <p:cNvPr id="5" name="Freeform 22_1"/>
          <p:cNvSpPr>
            <a:spLocks noChangeArrowheads="1"/>
          </p:cNvSpPr>
          <p:nvPr userDrawn="1"/>
        </p:nvSpPr>
        <p:spPr bwMode="auto">
          <a:xfrm>
            <a:off x="0"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blipFill>
            <a:blip r:embed="rId2">
              <a:duotone>
                <a:schemeClr val="accent2">
                  <a:shade val="45000"/>
                  <a:satMod val="135000"/>
                </a:schemeClr>
                <a:prstClr val="white"/>
              </a:duotone>
            </a:blip>
            <a:srcRect/>
            <a:stretch>
              <a:fillRect t="-28757" b="-15909"/>
            </a:stretch>
          </a:blipFill>
          <a:ln>
            <a:noFill/>
          </a:ln>
        </p:spPr>
        <p:txBody>
          <a:bodyPr vert="horz" wrap="square" lIns="91440" tIns="45720" rIns="91440" bIns="45720" numCol="1" anchor="t" anchorCtr="0" compatLnSpc="1">
            <a:noAutofit/>
          </a:bodyPr>
          <a:lstStyle/>
          <a:p>
            <a:endParaRPr lang="zh-CN" altLang="en-US"/>
          </a:p>
        </p:txBody>
      </p:sp>
      <p:sp>
        <p:nvSpPr>
          <p:cNvPr id="10" name="任意多边形: 形状 9"/>
          <p:cNvSpPr>
            <a:spLocks noChangeArrowheads="1"/>
          </p:cNvSpPr>
          <p:nvPr userDrawn="1"/>
        </p:nvSpPr>
        <p:spPr bwMode="auto">
          <a:xfrm>
            <a:off x="-794" y="1531703"/>
            <a:ext cx="12192000" cy="5326297"/>
          </a:xfrm>
          <a:custGeom>
            <a:avLst/>
            <a:gdLst>
              <a:gd name="connsiteX0" fmla="*/ 7259662 w 12192000"/>
              <a:gd name="connsiteY0" fmla="*/ 57321 h 5381035"/>
              <a:gd name="connsiteX1" fmla="*/ 12192000 w 12192000"/>
              <a:gd name="connsiteY1" fmla="*/ 3668162 h 5381035"/>
              <a:gd name="connsiteX2" fmla="*/ 12192000 w 12192000"/>
              <a:gd name="connsiteY2" fmla="*/ 5381035 h 5381035"/>
              <a:gd name="connsiteX3" fmla="*/ 0 w 12192000"/>
              <a:gd name="connsiteY3" fmla="*/ 5381035 h 5381035"/>
              <a:gd name="connsiteX4" fmla="*/ 0 w 12192000"/>
              <a:gd name="connsiteY4" fmla="*/ 4393412 h 5381035"/>
              <a:gd name="connsiteX5" fmla="*/ 4798 w 12192000"/>
              <a:gd name="connsiteY5" fmla="*/ 4668077 h 5381035"/>
              <a:gd name="connsiteX6" fmla="*/ 3480102 w 12192000"/>
              <a:gd name="connsiteY6" fmla="*/ 3079813 h 5381035"/>
              <a:gd name="connsiteX7" fmla="*/ 6789914 w 12192000"/>
              <a:gd name="connsiteY7" fmla="*/ 82876 h 5381035"/>
              <a:gd name="connsiteX8" fmla="*/ 7259662 w 12192000"/>
              <a:gd name="connsiteY8" fmla="*/ 57321 h 5381035"/>
              <a:gd name="connsiteX9" fmla="*/ 10803922 w 12192000"/>
              <a:gd name="connsiteY9" fmla="*/ 0 h 5381035"/>
              <a:gd name="connsiteX10" fmla="*/ 12192000 w 12192000"/>
              <a:gd name="connsiteY10" fmla="*/ 0 h 5381035"/>
              <a:gd name="connsiteX11" fmla="*/ 12192000 w 12192000"/>
              <a:gd name="connsiteY11" fmla="*/ 1322246 h 5381035"/>
              <a:gd name="connsiteX12" fmla="*/ 10969953 w 12192000"/>
              <a:gd name="connsiteY12" fmla="*/ 120266 h 5381035"/>
              <a:gd name="connsiteX13" fmla="*/ 0 w 12192000"/>
              <a:gd name="connsiteY13" fmla="*/ 0 h 5381035"/>
              <a:gd name="connsiteX14" fmla="*/ 4032282 w 12192000"/>
              <a:gd name="connsiteY14" fmla="*/ 0 h 5381035"/>
              <a:gd name="connsiteX15" fmla="*/ 3968734 w 12192000"/>
              <a:gd name="connsiteY15" fmla="*/ 60350 h 5381035"/>
              <a:gd name="connsiteX16" fmla="*/ 2309846 w 12192000"/>
              <a:gd name="connsiteY16" fmla="*/ 2073351 h 5381035"/>
              <a:gd name="connsiteX17" fmla="*/ 26916 w 12192000"/>
              <a:gd name="connsiteY17" fmla="*/ 3331235 h 5381035"/>
              <a:gd name="connsiteX18" fmla="*/ 0 w 12192000"/>
              <a:gd name="connsiteY18" fmla="*/ 3321905 h 5381035"/>
              <a:gd name="connsiteX0-1" fmla="*/ 7259662 w 12192000"/>
              <a:gd name="connsiteY0-2" fmla="*/ 57321 h 5381035"/>
              <a:gd name="connsiteX1-3" fmla="*/ 12192000 w 12192000"/>
              <a:gd name="connsiteY1-4" fmla="*/ 3668162 h 5381035"/>
              <a:gd name="connsiteX2-5" fmla="*/ 12192000 w 12192000"/>
              <a:gd name="connsiteY2-6" fmla="*/ 5381035 h 5381035"/>
              <a:gd name="connsiteX3-7" fmla="*/ 0 w 12192000"/>
              <a:gd name="connsiteY3-8" fmla="*/ 5381035 h 5381035"/>
              <a:gd name="connsiteX4-9" fmla="*/ 0 w 12192000"/>
              <a:gd name="connsiteY4-10" fmla="*/ 4393412 h 5381035"/>
              <a:gd name="connsiteX5-11" fmla="*/ 4798 w 12192000"/>
              <a:gd name="connsiteY5-12" fmla="*/ 4668077 h 5381035"/>
              <a:gd name="connsiteX6-13" fmla="*/ 3480102 w 12192000"/>
              <a:gd name="connsiteY6-14" fmla="*/ 3079813 h 5381035"/>
              <a:gd name="connsiteX7-15" fmla="*/ 6789914 w 12192000"/>
              <a:gd name="connsiteY7-16" fmla="*/ 82876 h 5381035"/>
              <a:gd name="connsiteX8-17" fmla="*/ 7259662 w 12192000"/>
              <a:gd name="connsiteY8-18" fmla="*/ 57321 h 5381035"/>
              <a:gd name="connsiteX9-19" fmla="*/ 10803922 w 12192000"/>
              <a:gd name="connsiteY9-20" fmla="*/ 0 h 5381035"/>
              <a:gd name="connsiteX10-21" fmla="*/ 12192000 w 12192000"/>
              <a:gd name="connsiteY10-22" fmla="*/ 0 h 5381035"/>
              <a:gd name="connsiteX11-23" fmla="*/ 12192000 w 12192000"/>
              <a:gd name="connsiteY11-24" fmla="*/ 1322246 h 5381035"/>
              <a:gd name="connsiteX12-25" fmla="*/ 10969953 w 12192000"/>
              <a:gd name="connsiteY12-26" fmla="*/ 120266 h 5381035"/>
              <a:gd name="connsiteX13-27" fmla="*/ 10803922 w 12192000"/>
              <a:gd name="connsiteY13-28" fmla="*/ 0 h 5381035"/>
              <a:gd name="connsiteX14-29" fmla="*/ 0 w 12192000"/>
              <a:gd name="connsiteY14-30" fmla="*/ 3321905 h 5381035"/>
              <a:gd name="connsiteX15-31" fmla="*/ 4032282 w 12192000"/>
              <a:gd name="connsiteY15-32" fmla="*/ 0 h 5381035"/>
              <a:gd name="connsiteX16-33" fmla="*/ 3968734 w 12192000"/>
              <a:gd name="connsiteY16-34" fmla="*/ 60350 h 5381035"/>
              <a:gd name="connsiteX17-35" fmla="*/ 2309846 w 12192000"/>
              <a:gd name="connsiteY17-36" fmla="*/ 2073351 h 5381035"/>
              <a:gd name="connsiteX18-37" fmla="*/ 26916 w 12192000"/>
              <a:gd name="connsiteY18-38" fmla="*/ 3331235 h 5381035"/>
              <a:gd name="connsiteX19" fmla="*/ 0 w 12192000"/>
              <a:gd name="connsiteY19" fmla="*/ 3321905 h 5381035"/>
              <a:gd name="connsiteX0-39" fmla="*/ 7259662 w 12192000"/>
              <a:gd name="connsiteY0-40" fmla="*/ 57321 h 5381035"/>
              <a:gd name="connsiteX1-41" fmla="*/ 12192000 w 12192000"/>
              <a:gd name="connsiteY1-42" fmla="*/ 3668162 h 5381035"/>
              <a:gd name="connsiteX2-43" fmla="*/ 12192000 w 12192000"/>
              <a:gd name="connsiteY2-44" fmla="*/ 5381035 h 5381035"/>
              <a:gd name="connsiteX3-45" fmla="*/ 0 w 12192000"/>
              <a:gd name="connsiteY3-46" fmla="*/ 5381035 h 5381035"/>
              <a:gd name="connsiteX4-47" fmla="*/ 0 w 12192000"/>
              <a:gd name="connsiteY4-48" fmla="*/ 4393412 h 5381035"/>
              <a:gd name="connsiteX5-49" fmla="*/ 4798 w 12192000"/>
              <a:gd name="connsiteY5-50" fmla="*/ 4668077 h 5381035"/>
              <a:gd name="connsiteX6-51" fmla="*/ 3480102 w 12192000"/>
              <a:gd name="connsiteY6-52" fmla="*/ 3079813 h 5381035"/>
              <a:gd name="connsiteX7-53" fmla="*/ 6789914 w 12192000"/>
              <a:gd name="connsiteY7-54" fmla="*/ 82876 h 5381035"/>
              <a:gd name="connsiteX8-55" fmla="*/ 7259662 w 12192000"/>
              <a:gd name="connsiteY8-56" fmla="*/ 57321 h 5381035"/>
              <a:gd name="connsiteX9-57" fmla="*/ 10803922 w 12192000"/>
              <a:gd name="connsiteY9-58" fmla="*/ 0 h 5381035"/>
              <a:gd name="connsiteX10-59" fmla="*/ 12192000 w 12192000"/>
              <a:gd name="connsiteY10-60" fmla="*/ 0 h 5381035"/>
              <a:gd name="connsiteX11-61" fmla="*/ 12192000 w 12192000"/>
              <a:gd name="connsiteY11-62" fmla="*/ 1322246 h 5381035"/>
              <a:gd name="connsiteX12-63" fmla="*/ 10969953 w 12192000"/>
              <a:gd name="connsiteY12-64" fmla="*/ 120266 h 5381035"/>
              <a:gd name="connsiteX13-65" fmla="*/ 10803922 w 12192000"/>
              <a:gd name="connsiteY13-66" fmla="*/ 0 h 5381035"/>
              <a:gd name="connsiteX14-67" fmla="*/ 0 w 12192000"/>
              <a:gd name="connsiteY14-68" fmla="*/ 3321905 h 5381035"/>
              <a:gd name="connsiteX15-69" fmla="*/ 4032282 w 12192000"/>
              <a:gd name="connsiteY15-70" fmla="*/ 0 h 5381035"/>
              <a:gd name="connsiteX16-71" fmla="*/ 2309846 w 12192000"/>
              <a:gd name="connsiteY16-72" fmla="*/ 2073351 h 5381035"/>
              <a:gd name="connsiteX17-73" fmla="*/ 26916 w 12192000"/>
              <a:gd name="connsiteY17-74" fmla="*/ 3331235 h 5381035"/>
              <a:gd name="connsiteX18-75" fmla="*/ 0 w 12192000"/>
              <a:gd name="connsiteY18-76" fmla="*/ 3321905 h 5381035"/>
              <a:gd name="connsiteX0-77" fmla="*/ 7259662 w 12192000"/>
              <a:gd name="connsiteY0-78" fmla="*/ 57321 h 5381035"/>
              <a:gd name="connsiteX1-79" fmla="*/ 12192000 w 12192000"/>
              <a:gd name="connsiteY1-80" fmla="*/ 3668162 h 5381035"/>
              <a:gd name="connsiteX2-81" fmla="*/ 12192000 w 12192000"/>
              <a:gd name="connsiteY2-82" fmla="*/ 5381035 h 5381035"/>
              <a:gd name="connsiteX3-83" fmla="*/ 0 w 12192000"/>
              <a:gd name="connsiteY3-84" fmla="*/ 5381035 h 5381035"/>
              <a:gd name="connsiteX4-85" fmla="*/ 0 w 12192000"/>
              <a:gd name="connsiteY4-86" fmla="*/ 4393412 h 5381035"/>
              <a:gd name="connsiteX5-87" fmla="*/ 4798 w 12192000"/>
              <a:gd name="connsiteY5-88" fmla="*/ 4668077 h 5381035"/>
              <a:gd name="connsiteX6-89" fmla="*/ 3480102 w 12192000"/>
              <a:gd name="connsiteY6-90" fmla="*/ 3079813 h 5381035"/>
              <a:gd name="connsiteX7-91" fmla="*/ 6789914 w 12192000"/>
              <a:gd name="connsiteY7-92" fmla="*/ 82876 h 5381035"/>
              <a:gd name="connsiteX8-93" fmla="*/ 7259662 w 12192000"/>
              <a:gd name="connsiteY8-94" fmla="*/ 57321 h 5381035"/>
              <a:gd name="connsiteX9-95" fmla="*/ 10803922 w 12192000"/>
              <a:gd name="connsiteY9-96" fmla="*/ 0 h 5381035"/>
              <a:gd name="connsiteX10-97" fmla="*/ 12192000 w 12192000"/>
              <a:gd name="connsiteY10-98" fmla="*/ 0 h 5381035"/>
              <a:gd name="connsiteX11-99" fmla="*/ 12192000 w 12192000"/>
              <a:gd name="connsiteY11-100" fmla="*/ 1322246 h 5381035"/>
              <a:gd name="connsiteX12-101" fmla="*/ 10969953 w 12192000"/>
              <a:gd name="connsiteY12-102" fmla="*/ 120266 h 5381035"/>
              <a:gd name="connsiteX13-103" fmla="*/ 10803922 w 12192000"/>
              <a:gd name="connsiteY13-104" fmla="*/ 0 h 5381035"/>
              <a:gd name="connsiteX14-105" fmla="*/ 0 w 12192000"/>
              <a:gd name="connsiteY14-106" fmla="*/ 3321905 h 5381035"/>
              <a:gd name="connsiteX15-107" fmla="*/ 2309846 w 12192000"/>
              <a:gd name="connsiteY15-108" fmla="*/ 2073351 h 5381035"/>
              <a:gd name="connsiteX16-109" fmla="*/ 26916 w 12192000"/>
              <a:gd name="connsiteY16-110" fmla="*/ 3331235 h 5381035"/>
              <a:gd name="connsiteX17-111" fmla="*/ 0 w 12192000"/>
              <a:gd name="connsiteY17-112" fmla="*/ 3321905 h 5381035"/>
              <a:gd name="connsiteX0-113" fmla="*/ 7259662 w 12192000"/>
              <a:gd name="connsiteY0-114" fmla="*/ 57321 h 5381035"/>
              <a:gd name="connsiteX1-115" fmla="*/ 12192000 w 12192000"/>
              <a:gd name="connsiteY1-116" fmla="*/ 3668162 h 5381035"/>
              <a:gd name="connsiteX2-117" fmla="*/ 12192000 w 12192000"/>
              <a:gd name="connsiteY2-118" fmla="*/ 5381035 h 5381035"/>
              <a:gd name="connsiteX3-119" fmla="*/ 0 w 12192000"/>
              <a:gd name="connsiteY3-120" fmla="*/ 5381035 h 5381035"/>
              <a:gd name="connsiteX4-121" fmla="*/ 0 w 12192000"/>
              <a:gd name="connsiteY4-122" fmla="*/ 4393412 h 5381035"/>
              <a:gd name="connsiteX5-123" fmla="*/ 4798 w 12192000"/>
              <a:gd name="connsiteY5-124" fmla="*/ 4668077 h 5381035"/>
              <a:gd name="connsiteX6-125" fmla="*/ 3480102 w 12192000"/>
              <a:gd name="connsiteY6-126" fmla="*/ 3079813 h 5381035"/>
              <a:gd name="connsiteX7-127" fmla="*/ 6789914 w 12192000"/>
              <a:gd name="connsiteY7-128" fmla="*/ 82876 h 5381035"/>
              <a:gd name="connsiteX8-129" fmla="*/ 7259662 w 12192000"/>
              <a:gd name="connsiteY8-130" fmla="*/ 57321 h 5381035"/>
              <a:gd name="connsiteX9-131" fmla="*/ 10803922 w 12192000"/>
              <a:gd name="connsiteY9-132" fmla="*/ 0 h 5381035"/>
              <a:gd name="connsiteX10-133" fmla="*/ 12192000 w 12192000"/>
              <a:gd name="connsiteY10-134" fmla="*/ 0 h 5381035"/>
              <a:gd name="connsiteX11-135" fmla="*/ 12192000 w 12192000"/>
              <a:gd name="connsiteY11-136" fmla="*/ 1322246 h 5381035"/>
              <a:gd name="connsiteX12-137" fmla="*/ 10969953 w 12192000"/>
              <a:gd name="connsiteY12-138" fmla="*/ 120266 h 5381035"/>
              <a:gd name="connsiteX13-139" fmla="*/ 10803922 w 12192000"/>
              <a:gd name="connsiteY13-140" fmla="*/ 0 h 5381035"/>
              <a:gd name="connsiteX14-141" fmla="*/ 26916 w 12192000"/>
              <a:gd name="connsiteY14-142" fmla="*/ 3331235 h 5381035"/>
              <a:gd name="connsiteX15-143" fmla="*/ 2309846 w 12192000"/>
              <a:gd name="connsiteY15-144" fmla="*/ 2073351 h 5381035"/>
              <a:gd name="connsiteX16-145" fmla="*/ 26916 w 12192000"/>
              <a:gd name="connsiteY16-146" fmla="*/ 3331235 h 5381035"/>
              <a:gd name="connsiteX0-147" fmla="*/ 7259662 w 12192000"/>
              <a:gd name="connsiteY0-148" fmla="*/ 57321 h 5381035"/>
              <a:gd name="connsiteX1-149" fmla="*/ 12192000 w 12192000"/>
              <a:gd name="connsiteY1-150" fmla="*/ 3668162 h 5381035"/>
              <a:gd name="connsiteX2-151" fmla="*/ 12192000 w 12192000"/>
              <a:gd name="connsiteY2-152" fmla="*/ 5381035 h 5381035"/>
              <a:gd name="connsiteX3-153" fmla="*/ 0 w 12192000"/>
              <a:gd name="connsiteY3-154" fmla="*/ 5381035 h 5381035"/>
              <a:gd name="connsiteX4-155" fmla="*/ 0 w 12192000"/>
              <a:gd name="connsiteY4-156" fmla="*/ 4393412 h 5381035"/>
              <a:gd name="connsiteX5-157" fmla="*/ 4798 w 12192000"/>
              <a:gd name="connsiteY5-158" fmla="*/ 4668077 h 5381035"/>
              <a:gd name="connsiteX6-159" fmla="*/ 3480102 w 12192000"/>
              <a:gd name="connsiteY6-160" fmla="*/ 3079813 h 5381035"/>
              <a:gd name="connsiteX7-161" fmla="*/ 6789914 w 12192000"/>
              <a:gd name="connsiteY7-162" fmla="*/ 82876 h 5381035"/>
              <a:gd name="connsiteX8-163" fmla="*/ 7259662 w 12192000"/>
              <a:gd name="connsiteY8-164" fmla="*/ 57321 h 5381035"/>
              <a:gd name="connsiteX9-165" fmla="*/ 10803922 w 12192000"/>
              <a:gd name="connsiteY9-166" fmla="*/ 0 h 5381035"/>
              <a:gd name="connsiteX10-167" fmla="*/ 12192000 w 12192000"/>
              <a:gd name="connsiteY10-168" fmla="*/ 0 h 5381035"/>
              <a:gd name="connsiteX11-169" fmla="*/ 12192000 w 12192000"/>
              <a:gd name="connsiteY11-170" fmla="*/ 1322246 h 5381035"/>
              <a:gd name="connsiteX12-171" fmla="*/ 10969953 w 12192000"/>
              <a:gd name="connsiteY12-172" fmla="*/ 120266 h 5381035"/>
              <a:gd name="connsiteX13-173" fmla="*/ 10803922 w 12192000"/>
              <a:gd name="connsiteY13-174" fmla="*/ 0 h 5381035"/>
              <a:gd name="connsiteX0-175" fmla="*/ 7259662 w 12192000"/>
              <a:gd name="connsiteY0-176" fmla="*/ 57321 h 5381035"/>
              <a:gd name="connsiteX1-177" fmla="*/ 12192000 w 12192000"/>
              <a:gd name="connsiteY1-178" fmla="*/ 3668162 h 5381035"/>
              <a:gd name="connsiteX2-179" fmla="*/ 12192000 w 12192000"/>
              <a:gd name="connsiteY2-180" fmla="*/ 5381035 h 5381035"/>
              <a:gd name="connsiteX3-181" fmla="*/ 0 w 12192000"/>
              <a:gd name="connsiteY3-182" fmla="*/ 5381035 h 5381035"/>
              <a:gd name="connsiteX4-183" fmla="*/ 0 w 12192000"/>
              <a:gd name="connsiteY4-184" fmla="*/ 4393412 h 5381035"/>
              <a:gd name="connsiteX5-185" fmla="*/ 4798 w 12192000"/>
              <a:gd name="connsiteY5-186" fmla="*/ 4668077 h 5381035"/>
              <a:gd name="connsiteX6-187" fmla="*/ 3480102 w 12192000"/>
              <a:gd name="connsiteY6-188" fmla="*/ 3079813 h 5381035"/>
              <a:gd name="connsiteX7-189" fmla="*/ 6789914 w 12192000"/>
              <a:gd name="connsiteY7-190" fmla="*/ 82876 h 5381035"/>
              <a:gd name="connsiteX8-191" fmla="*/ 7259662 w 12192000"/>
              <a:gd name="connsiteY8-192" fmla="*/ 57321 h 5381035"/>
              <a:gd name="connsiteX9-193" fmla="*/ 10803922 w 12192000"/>
              <a:gd name="connsiteY9-194" fmla="*/ 0 h 5381035"/>
              <a:gd name="connsiteX10-195" fmla="*/ 12192000 w 12192000"/>
              <a:gd name="connsiteY10-196" fmla="*/ 1322246 h 5381035"/>
              <a:gd name="connsiteX11-197" fmla="*/ 10969953 w 12192000"/>
              <a:gd name="connsiteY11-198" fmla="*/ 120266 h 5381035"/>
              <a:gd name="connsiteX12-199" fmla="*/ 10803922 w 12192000"/>
              <a:gd name="connsiteY12-200" fmla="*/ 0 h 5381035"/>
              <a:gd name="connsiteX0-201" fmla="*/ 7259662 w 12192000"/>
              <a:gd name="connsiteY0-202" fmla="*/ 2583 h 5326297"/>
              <a:gd name="connsiteX1-203" fmla="*/ 12192000 w 12192000"/>
              <a:gd name="connsiteY1-204" fmla="*/ 3613424 h 5326297"/>
              <a:gd name="connsiteX2-205" fmla="*/ 12192000 w 12192000"/>
              <a:gd name="connsiteY2-206" fmla="*/ 5326297 h 5326297"/>
              <a:gd name="connsiteX3-207" fmla="*/ 0 w 12192000"/>
              <a:gd name="connsiteY3-208" fmla="*/ 5326297 h 5326297"/>
              <a:gd name="connsiteX4-209" fmla="*/ 0 w 12192000"/>
              <a:gd name="connsiteY4-210" fmla="*/ 4338674 h 5326297"/>
              <a:gd name="connsiteX5-211" fmla="*/ 4798 w 12192000"/>
              <a:gd name="connsiteY5-212" fmla="*/ 4613339 h 5326297"/>
              <a:gd name="connsiteX6-213" fmla="*/ 3480102 w 12192000"/>
              <a:gd name="connsiteY6-214" fmla="*/ 3025075 h 5326297"/>
              <a:gd name="connsiteX7-215" fmla="*/ 6789914 w 12192000"/>
              <a:gd name="connsiteY7-216" fmla="*/ 28138 h 5326297"/>
              <a:gd name="connsiteX8-217" fmla="*/ 7259662 w 12192000"/>
              <a:gd name="connsiteY8-218" fmla="*/ 2583 h 5326297"/>
              <a:gd name="connsiteX9-219" fmla="*/ 10969953 w 12192000"/>
              <a:gd name="connsiteY9-220" fmla="*/ 65528 h 5326297"/>
              <a:gd name="connsiteX10-221" fmla="*/ 12192000 w 12192000"/>
              <a:gd name="connsiteY10-222" fmla="*/ 1267508 h 5326297"/>
              <a:gd name="connsiteX11-223" fmla="*/ 10969953 w 12192000"/>
              <a:gd name="connsiteY11-224" fmla="*/ 65528 h 5326297"/>
              <a:gd name="connsiteX0-225" fmla="*/ 7259662 w 12192000"/>
              <a:gd name="connsiteY0-226" fmla="*/ 2583 h 5326297"/>
              <a:gd name="connsiteX1-227" fmla="*/ 12192000 w 12192000"/>
              <a:gd name="connsiteY1-228" fmla="*/ 3613424 h 5326297"/>
              <a:gd name="connsiteX2-229" fmla="*/ 12192000 w 12192000"/>
              <a:gd name="connsiteY2-230" fmla="*/ 5326297 h 5326297"/>
              <a:gd name="connsiteX3-231" fmla="*/ 0 w 12192000"/>
              <a:gd name="connsiteY3-232" fmla="*/ 5326297 h 5326297"/>
              <a:gd name="connsiteX4-233" fmla="*/ 0 w 12192000"/>
              <a:gd name="connsiteY4-234" fmla="*/ 4338674 h 5326297"/>
              <a:gd name="connsiteX5-235" fmla="*/ 4798 w 12192000"/>
              <a:gd name="connsiteY5-236" fmla="*/ 4613339 h 5326297"/>
              <a:gd name="connsiteX6-237" fmla="*/ 3480102 w 12192000"/>
              <a:gd name="connsiteY6-238" fmla="*/ 3025075 h 5326297"/>
              <a:gd name="connsiteX7-239" fmla="*/ 6789914 w 12192000"/>
              <a:gd name="connsiteY7-240" fmla="*/ 28138 h 5326297"/>
              <a:gd name="connsiteX8-241" fmla="*/ 7259662 w 12192000"/>
              <a:gd name="connsiteY8-242" fmla="*/ 2583 h 532629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2192000" h="5326297">
                <a:moveTo>
                  <a:pt x="7259662" y="2583"/>
                </a:moveTo>
                <a:cubicBezTo>
                  <a:pt x="9625834" y="111255"/>
                  <a:pt x="12192000" y="3613424"/>
                  <a:pt x="12192000" y="3613424"/>
                </a:cubicBezTo>
                <a:lnTo>
                  <a:pt x="12192000" y="5326297"/>
                </a:lnTo>
                <a:lnTo>
                  <a:pt x="0" y="5326297"/>
                </a:lnTo>
                <a:lnTo>
                  <a:pt x="0" y="4338674"/>
                </a:lnTo>
                <a:cubicBezTo>
                  <a:pt x="1599" y="4430229"/>
                  <a:pt x="3199" y="4521784"/>
                  <a:pt x="4798" y="4613339"/>
                </a:cubicBezTo>
                <a:cubicBezTo>
                  <a:pt x="4798" y="4613339"/>
                  <a:pt x="1766092" y="5316740"/>
                  <a:pt x="3480102" y="3025075"/>
                </a:cubicBezTo>
                <a:cubicBezTo>
                  <a:pt x="5194112" y="732474"/>
                  <a:pt x="5876761" y="174992"/>
                  <a:pt x="6789914" y="28138"/>
                </a:cubicBezTo>
                <a:cubicBezTo>
                  <a:pt x="6945061" y="3175"/>
                  <a:pt x="7101917" y="-4662"/>
                  <a:pt x="7259662" y="2583"/>
                </a:cubicBezTo>
                <a:close/>
              </a:path>
            </a:pathLst>
          </a:custGeom>
          <a:solidFill>
            <a:srgbClr val="FFC000">
              <a:alpha val="20000"/>
            </a:srgbClr>
          </a:solidFill>
          <a:ln>
            <a:noFill/>
          </a:ln>
        </p:spPr>
        <p:txBody>
          <a:bodyPr vert="horz" wrap="square" lIns="91440" tIns="45720" rIns="91440" bIns="45720" numCol="1" anchor="t" anchorCtr="0" compatLnSpc="1">
            <a:noAutofit/>
          </a:bodyPr>
          <a:lstStyle/>
          <a:p>
            <a:endParaRPr lang="zh-CN" altLang="en-US"/>
          </a:p>
        </p:txBody>
      </p:sp>
      <p:sp>
        <p:nvSpPr>
          <p:cNvPr id="13" name="标题 1"/>
          <p:cNvSpPr>
            <a:spLocks noGrp="1"/>
          </p:cNvSpPr>
          <p:nvPr userDrawn="1">
            <p:ph type="ctrTitle" hasCustomPrompt="1"/>
          </p:nvPr>
        </p:nvSpPr>
        <p:spPr>
          <a:xfrm>
            <a:off x="4034971" y="2163199"/>
            <a:ext cx="6536871" cy="2390427"/>
          </a:xfrm>
        </p:spPr>
        <p:txBody>
          <a:bodyPr anchor="b">
            <a:normAutofit/>
          </a:bodyPr>
          <a:lstStyle>
            <a:lvl1pPr marL="0" indent="0" algn="ctr">
              <a:buFont typeface="Arial" panose="020B060402020209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4034971" y="5238353"/>
            <a:ext cx="6536871" cy="310871"/>
          </a:xfrm>
        </p:spPr>
        <p:txBody>
          <a:bodyPr vert="horz" lIns="91440" tIns="45720" rIns="91440" bIns="45720" rtlCol="0">
            <a:normAutofit/>
          </a:bodyPr>
          <a:lstStyle>
            <a:lvl1pPr marL="0" indent="0" algn="ctr">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13"/>
          <p:cNvSpPr>
            <a:spLocks noGrp="1"/>
          </p:cNvSpPr>
          <p:nvPr>
            <p:ph type="body" sz="quarter" idx="10" hasCustomPrompt="1"/>
          </p:nvPr>
        </p:nvSpPr>
        <p:spPr>
          <a:xfrm>
            <a:off x="4034973" y="4942082"/>
            <a:ext cx="6536871" cy="296271"/>
          </a:xfrm>
        </p:spPr>
        <p:txBody>
          <a:bodyPr vert="horz" anchor="ctr">
            <a:noAutofit/>
          </a:bodyPr>
          <a:lstStyle>
            <a:lvl1pPr marL="0" indent="0" algn="ctr">
              <a:buNone/>
              <a:defRPr sz="15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1" name="任意多边形: 形状 10"/>
          <p:cNvSpPr/>
          <p:nvPr userDrawn="1"/>
        </p:nvSpPr>
        <p:spPr bwMode="auto">
          <a:xfrm>
            <a:off x="0" y="543509"/>
            <a:ext cx="12192000" cy="6167761"/>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78000">
                <a:srgbClr val="FFC000"/>
              </a:gs>
              <a:gs pos="11000">
                <a:schemeClr val="accent1"/>
              </a:gs>
            </a:gsLst>
            <a:lin ang="4800000" scaled="0"/>
            <a:tileRect/>
          </a:gradFill>
          <a:ln>
            <a:noFill/>
          </a:ln>
        </p:spPr>
        <p:txBody>
          <a:bodyPr vert="horz" wrap="square" lIns="91440" tIns="45720" rIns="91440" bIns="45720" numCol="1" anchor="t" anchorCtr="0" compatLnSpc="1">
            <a:noAutofit/>
          </a:bodyPr>
          <a:lstStyle/>
          <a:p>
            <a:endParaRPr lang="zh-CN" altLang="en-US" dirty="0">
              <a:gradFill>
                <a:gsLst>
                  <a:gs pos="100000">
                    <a:schemeClr val="accent3"/>
                  </a:gs>
                  <a:gs pos="0">
                    <a:schemeClr val="accent4"/>
                  </a:gs>
                </a:gsLst>
                <a:lin ang="13500000" scaled="1"/>
              </a:gradFill>
            </a:endParaRPr>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7FE44A0-2E53-457E-9AC0-11D6EE9FA3B5}" type="datetime1">
              <a:rPr lang="zh-CN" altLang="en-US" smtClean="0"/>
              <a:t>2021/12/4</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5.jp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slideLayout" Target="../slideLayouts/slideLayout3.xml"/><Relationship Id="rId5" Type="http://schemas.openxmlformats.org/officeDocument/2006/relationships/tags" Target="../tags/tag14.xml"/><Relationship Id="rId4" Type="http://schemas.openxmlformats.org/officeDocument/2006/relationships/tags" Target="../tags/tag13.xml"/></Relationships>
</file>

<file path=ppt/slides/_rels/slide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tags" Target="../tags/tag15.xml"/><Relationship Id="rId4" Type="http://schemas.openxmlformats.org/officeDocument/2006/relationships/image" Target="../media/image5.jpg"/></Relationships>
</file>

<file path=ppt/slides/_rels/slide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5.jpg"/><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Layout" Target="../slideLayouts/slideLayout3.xml"/><Relationship Id="rId5" Type="http://schemas.openxmlformats.org/officeDocument/2006/relationships/tags" Target="../tags/tag9.xml"/><Relationship Id="rId4"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90204" pitchFamily="34" charset="0"/>
              <a:ea typeface="微软雅黑" panose="020B0503020204020204" pitchFamily="34" charset="-122"/>
              <a:cs typeface="+mj-cs"/>
              <a:sym typeface="Arial" panose="020B0604020202090204" pitchFamily="34" charset="0"/>
            </a:endParaRPr>
          </a:p>
        </p:txBody>
      </p:sp>
      <p:sp>
        <p:nvSpPr>
          <p:cNvPr id="4" name="标题 3"/>
          <p:cNvSpPr>
            <a:spLocks noGrp="1"/>
          </p:cNvSpPr>
          <p:nvPr>
            <p:ph type="ctrTitle"/>
          </p:nvPr>
        </p:nvSpPr>
        <p:spPr>
          <a:xfrm>
            <a:off x="669925" y="1319455"/>
            <a:ext cx="10850563" cy="3136900"/>
          </a:xfrm>
        </p:spPr>
        <p:txBody>
          <a:bodyPr>
            <a:normAutofit/>
          </a:bodyPr>
          <a:lstStyle/>
          <a:p>
            <a:r>
              <a:rPr lang="en-US" altLang="zh-CN" sz="4800" dirty="0" err="1" smtClean="0"/>
              <a:t>Redis</a:t>
            </a:r>
            <a:r>
              <a:rPr lang="en-US" altLang="zh-CN" sz="4800" dirty="0" smtClean="0"/>
              <a:t> 6 </a:t>
            </a:r>
            <a:r>
              <a:rPr lang="zh-CN" altLang="en-US" sz="4800" dirty="0" smtClean="0"/>
              <a:t>开发与实战</a:t>
            </a:r>
            <a:endParaRPr lang="zh-CN" altLang="en-US" sz="2000" b="0" dirty="0"/>
          </a:p>
        </p:txBody>
      </p:sp>
      <p:sp>
        <p:nvSpPr>
          <p:cNvPr id="29" name="任意多边形: 形状 28"/>
          <p:cNvSpPr/>
          <p:nvPr/>
        </p:nvSpPr>
        <p:spPr>
          <a:xfrm>
            <a:off x="10968292" y="649047"/>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9684121" y="5993053"/>
            <a:ext cx="2074491" cy="431799"/>
          </a:xfrm>
          <a:prstGeom prst="rect">
            <a:avLst/>
          </a:prstGeom>
        </p:spPr>
      </p:pic>
      <p:sp>
        <p:nvSpPr>
          <p:cNvPr id="22" name="矩形: 圆角 21"/>
          <p:cNvSpPr/>
          <p:nvPr/>
        </p:nvSpPr>
        <p:spPr>
          <a:xfrm>
            <a:off x="800099" y="4579447"/>
            <a:ext cx="4235540" cy="459272"/>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主讲教师：</a:t>
            </a:r>
            <a:r>
              <a:rPr lang="en-US" altLang="zh-CN" b="1" dirty="0">
                <a:solidFill>
                  <a:schemeClr val="tx1"/>
                </a:solidFill>
              </a:rPr>
              <a:t>XXX</a:t>
            </a:r>
          </a:p>
        </p:txBody>
      </p:sp>
      <p:pic>
        <p:nvPicPr>
          <p:cNvPr id="25" name="图片 2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611186" y="488949"/>
            <a:ext cx="631826" cy="631826"/>
          </a:xfrm>
          <a:prstGeom prst="rect">
            <a:avLst/>
          </a:prstGeom>
        </p:spPr>
      </p:pic>
      <p:sp>
        <p:nvSpPr>
          <p:cNvPr id="7" name="矩形 6"/>
          <p:cNvSpPr/>
          <p:nvPr/>
        </p:nvSpPr>
        <p:spPr>
          <a:xfrm>
            <a:off x="1328775" y="589418"/>
            <a:ext cx="4527200" cy="430887"/>
          </a:xfrm>
          <a:prstGeom prst="rect">
            <a:avLst/>
          </a:prstGeom>
        </p:spPr>
        <p:txBody>
          <a:bodyPr wrap="none">
            <a:spAutoFit/>
          </a:bodyPr>
          <a:lstStyle/>
          <a:p>
            <a:pPr algn="ctr"/>
            <a:r>
              <a:rPr lang="zh-CN" altLang="en-US" sz="2200" dirty="0" smtClean="0">
                <a:solidFill>
                  <a:schemeClr val="bg1"/>
                </a:solidFill>
                <a:sym typeface="+mn-ea"/>
              </a:rPr>
              <a:t>大数据教材《</a:t>
            </a:r>
            <a:r>
              <a:rPr lang="en-US" altLang="zh-CN" sz="2200" dirty="0" err="1" smtClean="0">
                <a:solidFill>
                  <a:schemeClr val="bg1"/>
                </a:solidFill>
                <a:sym typeface="+mn-ea"/>
              </a:rPr>
              <a:t>Redis</a:t>
            </a:r>
            <a:r>
              <a:rPr lang="en-US" altLang="zh-CN" sz="2200" dirty="0" smtClean="0">
                <a:solidFill>
                  <a:schemeClr val="bg1"/>
                </a:solidFill>
                <a:sym typeface="+mn-ea"/>
              </a:rPr>
              <a:t> 6</a:t>
            </a:r>
            <a:r>
              <a:rPr lang="zh-CN" altLang="en-US" sz="2200" dirty="0" smtClean="0">
                <a:solidFill>
                  <a:schemeClr val="bg1"/>
                </a:solidFill>
                <a:sym typeface="+mn-ea"/>
              </a:rPr>
              <a:t>开发与实战》</a:t>
            </a:r>
            <a:endParaRPr lang="zh-CN" altLang="en-US" sz="2200" b="1" dirty="0">
              <a:solidFill>
                <a:schemeClr val="accent2"/>
              </a:solidFill>
            </a:endParaRPr>
          </a:p>
        </p:txBody>
      </p:sp>
      <p:sp>
        <p:nvSpPr>
          <p:cNvPr id="6" name="矩形 5"/>
          <p:cNvSpPr/>
          <p:nvPr/>
        </p:nvSpPr>
        <p:spPr>
          <a:xfrm>
            <a:off x="933450" y="5034280"/>
            <a:ext cx="6122035" cy="1553210"/>
          </a:xfrm>
          <a:prstGeom prst="rect">
            <a:avLst/>
          </a:prstGeom>
        </p:spPr>
        <p:txBody>
          <a:bodyPr wrap="square">
            <a:spAutoFit/>
          </a:bodyPr>
          <a:lstStyle/>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学院：</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p>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邮箱：</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p>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办公地点：</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p>
          <a:p>
            <a:pPr algn="l">
              <a:lnSpc>
                <a:spcPct val="132000"/>
              </a:lnSpc>
            </a:pPr>
            <a:r>
              <a:rPr lang="zh-CN" altLang="en-US"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办公电话：</a:t>
            </a:r>
            <a:r>
              <a:rPr lang="en-US" altLang="zh-CN" dirty="0">
                <a:solidFill>
                  <a:srgbClr val="0000FF"/>
                </a:solidFill>
                <a:latin typeface="Times New Roman" panose="02020603050405020304" charset="0"/>
                <a:ea typeface="微软雅黑" panose="020B0503020204020204" pitchFamily="34" charset="-122"/>
                <a:cs typeface="+mn-ea"/>
                <a:sym typeface="Times New Roman" panose="02020603050405020304" charset="0"/>
              </a:rPr>
              <a:t>XXX</a:t>
            </a:r>
          </a:p>
        </p:txBody>
      </p:sp>
      <p:pic>
        <p:nvPicPr>
          <p:cNvPr id="12" name="图片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8836" y="1020305"/>
            <a:ext cx="3353401" cy="4698348"/>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070795" y="1375873"/>
            <a:ext cx="6853158" cy="923330"/>
          </a:xfrm>
          <a:prstGeom prst="rect">
            <a:avLst/>
          </a:prstGeom>
          <a:noFill/>
        </p:spPr>
        <p:txBody>
          <a:bodyPr wrap="none" rtlCol="0">
            <a:spAutoFit/>
          </a:bodyPr>
          <a:lstStyle/>
          <a:p>
            <a:r>
              <a:rPr lang="zh-CN" altLang="zh-CN" dirty="0"/>
              <a:t>保存配置文件后，使用</a:t>
            </a:r>
            <a:r>
              <a:rPr lang="en-US" altLang="zh-CN" dirty="0" err="1"/>
              <a:t>redis</a:t>
            </a:r>
            <a:r>
              <a:rPr lang="en-US" altLang="zh-CN" dirty="0"/>
              <a:t>-server </a:t>
            </a:r>
            <a:r>
              <a:rPr lang="zh-CN" altLang="zh-CN" dirty="0"/>
              <a:t>加载</a:t>
            </a:r>
            <a:r>
              <a:rPr lang="en-US" altLang="zh-CN" dirty="0" err="1"/>
              <a:t>redis.conf</a:t>
            </a:r>
            <a:r>
              <a:rPr lang="zh-CN" altLang="zh-CN" dirty="0"/>
              <a:t>配置文件启动</a:t>
            </a:r>
            <a:r>
              <a:rPr lang="zh-CN" altLang="zh-CN" dirty="0" smtClean="0"/>
              <a:t>。</a:t>
            </a:r>
            <a:endParaRPr lang="en-US" altLang="zh-CN" dirty="0" smtClean="0"/>
          </a:p>
          <a:p>
            <a:r>
              <a:rPr lang="zh-CN" altLang="zh-CN" dirty="0" smtClean="0"/>
              <a:t>使用</a:t>
            </a:r>
            <a:r>
              <a:rPr lang="en-US" altLang="zh-CN" dirty="0"/>
              <a:t>CONFIG GET </a:t>
            </a:r>
            <a:r>
              <a:rPr lang="en-US" altLang="zh-CN" dirty="0" err="1"/>
              <a:t>dir</a:t>
            </a:r>
            <a:r>
              <a:rPr lang="zh-CN" altLang="zh-CN" dirty="0"/>
              <a:t>命令可以查看</a:t>
            </a:r>
            <a:r>
              <a:rPr lang="en-US" altLang="zh-CN" dirty="0"/>
              <a:t>RDB</a:t>
            </a:r>
            <a:r>
              <a:rPr lang="zh-CN" altLang="zh-CN" dirty="0"/>
              <a:t>文件的存储路径。</a:t>
            </a:r>
          </a:p>
          <a:p>
            <a:endParaRPr lang="zh-CN" altLang="en-US" dirty="0"/>
          </a:p>
        </p:txBody>
      </p:sp>
      <p:sp>
        <p:nvSpPr>
          <p:cNvPr id="3" name="文本框 2"/>
          <p:cNvSpPr txBox="1"/>
          <p:nvPr/>
        </p:nvSpPr>
        <p:spPr>
          <a:xfrm>
            <a:off x="1170773" y="2299203"/>
            <a:ext cx="3675045" cy="1200329"/>
          </a:xfrm>
          <a:prstGeom prst="rect">
            <a:avLst/>
          </a:prstGeom>
          <a:noFill/>
        </p:spPr>
        <p:txBody>
          <a:bodyPr wrap="none" rtlCol="0">
            <a:spAutoFit/>
          </a:bodyPr>
          <a:lstStyle/>
          <a:p>
            <a:r>
              <a:rPr lang="en-US" altLang="zh-CN" dirty="0"/>
              <a:t>127.0.0.1:6379&gt; CONFIG GET </a:t>
            </a:r>
            <a:r>
              <a:rPr lang="en-US" altLang="zh-CN" dirty="0" err="1"/>
              <a:t>dir</a:t>
            </a:r>
            <a:endParaRPr lang="zh-CN" altLang="zh-CN" dirty="0"/>
          </a:p>
          <a:p>
            <a:r>
              <a:rPr lang="en-US" altLang="zh-CN" dirty="0"/>
              <a:t>1) "</a:t>
            </a:r>
            <a:r>
              <a:rPr lang="en-US" altLang="zh-CN" dirty="0" err="1"/>
              <a:t>dir</a:t>
            </a:r>
            <a:r>
              <a:rPr lang="en-US" altLang="zh-CN" dirty="0"/>
              <a:t>"</a:t>
            </a:r>
            <a:endParaRPr lang="zh-CN" altLang="zh-CN" dirty="0"/>
          </a:p>
          <a:p>
            <a:r>
              <a:rPr lang="en-US" altLang="zh-CN" dirty="0"/>
              <a:t>2) "/</a:t>
            </a:r>
            <a:r>
              <a:rPr lang="en-US" altLang="zh-CN" dirty="0" err="1"/>
              <a:t>usr</a:t>
            </a:r>
            <a:r>
              <a:rPr lang="en-US" altLang="zh-CN" dirty="0"/>
              <a:t>/local/</a:t>
            </a:r>
            <a:r>
              <a:rPr lang="en-US" altLang="zh-CN" dirty="0" err="1"/>
              <a:t>redis</a:t>
            </a:r>
            <a:r>
              <a:rPr lang="en-US" altLang="zh-CN" dirty="0"/>
              <a:t>/bin"</a:t>
            </a:r>
            <a:endParaRPr lang="zh-CN" altLang="zh-CN" dirty="0"/>
          </a:p>
          <a:p>
            <a:endParaRPr lang="zh-CN" altLang="en-US" dirty="0"/>
          </a:p>
        </p:txBody>
      </p:sp>
    </p:spTree>
    <p:extLst>
      <p:ext uri="{BB962C8B-B14F-4D97-AF65-F5344CB8AC3E}">
        <p14:creationId xmlns:p14="http://schemas.microsoft.com/office/powerpoint/2010/main" val="2928818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RDB</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5" name="ïśḷïḓe"/>
          <p:cNvSpPr/>
          <p:nvPr>
            <p:custDataLst>
              <p:tags r:id="rId4"/>
            </p:custDataLst>
          </p:nvPr>
        </p:nvSpPr>
        <p:spPr>
          <a:xfrm>
            <a:off x="1298961" y="260826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文本框 1"/>
          <p:cNvSpPr txBox="1"/>
          <p:nvPr/>
        </p:nvSpPr>
        <p:spPr>
          <a:xfrm>
            <a:off x="669925" y="1448856"/>
            <a:ext cx="8833507" cy="646331"/>
          </a:xfrm>
          <a:prstGeom prst="rect">
            <a:avLst/>
          </a:prstGeom>
          <a:noFill/>
        </p:spPr>
        <p:txBody>
          <a:bodyPr wrap="square" rtlCol="0">
            <a:spAutoFit/>
          </a:bodyPr>
          <a:lstStyle/>
          <a:p>
            <a:r>
              <a:rPr lang="en-US" altLang="zh-CN" dirty="0"/>
              <a:t>RDB</a:t>
            </a:r>
            <a:r>
              <a:rPr lang="zh-CN" altLang="zh-CN" dirty="0"/>
              <a:t>的保存点</a:t>
            </a:r>
          </a:p>
          <a:p>
            <a:endParaRPr lang="zh-CN" altLang="en-US" dirty="0"/>
          </a:p>
        </p:txBody>
      </p:sp>
      <p:sp>
        <p:nvSpPr>
          <p:cNvPr id="3" name="文本框 2"/>
          <p:cNvSpPr txBox="1"/>
          <p:nvPr/>
        </p:nvSpPr>
        <p:spPr>
          <a:xfrm>
            <a:off x="669925" y="2095882"/>
            <a:ext cx="12090253" cy="923330"/>
          </a:xfrm>
          <a:prstGeom prst="rect">
            <a:avLst/>
          </a:prstGeom>
          <a:noFill/>
        </p:spPr>
        <p:txBody>
          <a:bodyPr wrap="square" rtlCol="0">
            <a:spAutoFit/>
          </a:bodyPr>
          <a:lstStyle/>
          <a:p>
            <a:r>
              <a:rPr lang="en-US" altLang="zh-CN" dirty="0"/>
              <a:t>1</a:t>
            </a:r>
            <a:r>
              <a:rPr lang="zh-CN" altLang="zh-CN" dirty="0"/>
              <a:t>）配置保存点，可以使</a:t>
            </a:r>
            <a:r>
              <a:rPr lang="en-US" altLang="zh-CN" dirty="0" err="1"/>
              <a:t>Redis</a:t>
            </a:r>
            <a:r>
              <a:rPr lang="zh-CN" altLang="zh-CN" dirty="0"/>
              <a:t>在每</a:t>
            </a:r>
            <a:r>
              <a:rPr lang="en-US" altLang="zh-CN" dirty="0"/>
              <a:t>N</a:t>
            </a:r>
            <a:r>
              <a:rPr lang="zh-CN" altLang="zh-CN" dirty="0"/>
              <a:t>秒后，如果数据发生了</a:t>
            </a:r>
            <a:r>
              <a:rPr lang="en-US" altLang="zh-CN" dirty="0"/>
              <a:t>M</a:t>
            </a:r>
            <a:r>
              <a:rPr lang="zh-CN" altLang="zh-CN" dirty="0"/>
              <a:t>次改变就保存快照文件</a:t>
            </a:r>
            <a:r>
              <a:rPr lang="zh-CN" altLang="zh-CN" dirty="0" smtClean="0"/>
              <a:t>。</a:t>
            </a:r>
            <a:endParaRPr lang="en-US" altLang="zh-CN" dirty="0" smtClean="0"/>
          </a:p>
          <a:p>
            <a:r>
              <a:rPr lang="zh-CN" altLang="zh-CN" dirty="0" smtClean="0"/>
              <a:t>例如</a:t>
            </a:r>
            <a:r>
              <a:rPr lang="zh-CN" altLang="zh-CN" dirty="0"/>
              <a:t>下面这个保存点配置表示每</a:t>
            </a:r>
            <a:r>
              <a:rPr lang="en-US" altLang="zh-CN" dirty="0"/>
              <a:t>60</a:t>
            </a:r>
            <a:r>
              <a:rPr lang="zh-CN" altLang="zh-CN" dirty="0"/>
              <a:t>秒内，如果数据发生了</a:t>
            </a:r>
            <a:r>
              <a:rPr lang="en-US" altLang="zh-CN" dirty="0"/>
              <a:t>10000</a:t>
            </a:r>
            <a:r>
              <a:rPr lang="zh-CN" altLang="zh-CN" dirty="0"/>
              <a:t>次以上的变动，</a:t>
            </a:r>
            <a:r>
              <a:rPr lang="en-US" altLang="zh-CN" dirty="0" err="1"/>
              <a:t>Redis</a:t>
            </a:r>
            <a:r>
              <a:rPr lang="zh-CN" altLang="zh-CN" dirty="0"/>
              <a:t>就会自动保存快照文件。</a:t>
            </a:r>
          </a:p>
          <a:p>
            <a:endParaRPr lang="zh-CN" altLang="en-US" dirty="0"/>
          </a:p>
        </p:txBody>
      </p:sp>
    </p:spTree>
    <p:extLst>
      <p:ext uri="{BB962C8B-B14F-4D97-AF65-F5344CB8AC3E}">
        <p14:creationId xmlns:p14="http://schemas.microsoft.com/office/powerpoint/2010/main" val="29756705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23" name="矩形 22"/>
          <p:cNvSpPr/>
          <p:nvPr/>
        </p:nvSpPr>
        <p:spPr>
          <a:xfrm>
            <a:off x="1696469" y="2375673"/>
            <a:ext cx="3682150" cy="460375"/>
          </a:xfrm>
          <a:prstGeom prst="rect">
            <a:avLst/>
          </a:prstGeom>
        </p:spPr>
        <p:txBody>
          <a:bodyPr wrap="square">
            <a:spAutoFit/>
          </a:bodyPr>
          <a:lstStyle/>
          <a:p>
            <a:r>
              <a:rPr lang="en-US" altLang="zh-CN" sz="2400" b="1" dirty="0">
                <a:solidFill>
                  <a:srgbClr val="0000FF"/>
                </a:solidFill>
                <a:latin typeface="+mj-ea"/>
                <a:ea typeface="+mj-ea"/>
                <a:sym typeface="+mn-ea"/>
              </a:rPr>
              <a:t>2.2 Hash</a:t>
            </a:r>
            <a:r>
              <a:rPr lang="zh-CN" altLang="en-US" sz="2400" b="1" dirty="0" err="1" smtClean="0">
                <a:solidFill>
                  <a:srgbClr val="0000FF"/>
                </a:solidFill>
                <a:latin typeface="+mj-ea"/>
                <a:ea typeface="+mj-ea"/>
                <a:sym typeface="+mn-ea"/>
              </a:rPr>
              <a:t>类型</a:t>
            </a:r>
            <a:endParaRPr lang="zh-CN" altLang="en-US" sz="2400" dirty="0" err="1" smtClean="0">
              <a:latin typeface="+mj-ea"/>
            </a:endParaRPr>
          </a:p>
        </p:txBody>
      </p:sp>
      <p:sp>
        <p:nvSpPr>
          <p:cNvPr id="24" name="矩形 23"/>
          <p:cNvSpPr/>
          <p:nvPr/>
        </p:nvSpPr>
        <p:spPr>
          <a:xfrm>
            <a:off x="1696468" y="2951618"/>
            <a:ext cx="3488967" cy="460375"/>
          </a:xfrm>
          <a:prstGeom prst="rect">
            <a:avLst/>
          </a:prstGeom>
        </p:spPr>
        <p:txBody>
          <a:bodyPr wrap="square">
            <a:spAutoFit/>
          </a:bodyPr>
          <a:lstStyle/>
          <a:p>
            <a:r>
              <a:rPr lang="en-US" altLang="zh-CN" sz="2400" dirty="0">
                <a:latin typeface="+mj-ea"/>
              </a:rPr>
              <a:t>2.3 </a:t>
            </a:r>
            <a:r>
              <a:rPr lang="en-US" altLang="zh-CN" sz="2400" dirty="0" err="1" smtClean="0">
                <a:latin typeface="+mj-ea"/>
              </a:rPr>
              <a:t>List</a:t>
            </a:r>
            <a:r>
              <a:rPr lang="zh-CN" altLang="en-US" sz="2400" dirty="0" err="1" smtClean="0">
                <a:latin typeface="+mj-ea"/>
              </a:rPr>
              <a:t>类型</a:t>
            </a:r>
          </a:p>
        </p:txBody>
      </p:sp>
      <p:sp>
        <p:nvSpPr>
          <p:cNvPr id="25" name="矩形 24"/>
          <p:cNvSpPr/>
          <p:nvPr/>
        </p:nvSpPr>
        <p:spPr>
          <a:xfrm>
            <a:off x="1696468" y="3592333"/>
            <a:ext cx="3488967" cy="460375"/>
          </a:xfrm>
          <a:prstGeom prst="rect">
            <a:avLst/>
          </a:prstGeom>
        </p:spPr>
        <p:txBody>
          <a:bodyPr wrap="square">
            <a:spAutoFit/>
          </a:bodyPr>
          <a:lstStyle/>
          <a:p>
            <a:r>
              <a:rPr lang="en-US" altLang="zh-CN" sz="2400" dirty="0">
                <a:latin typeface="+mj-ea"/>
              </a:rPr>
              <a:t>2.4 </a:t>
            </a:r>
            <a:r>
              <a:rPr lang="en-US" altLang="zh-CN" sz="2400" dirty="0" smtClean="0">
                <a:latin typeface="+mj-ea"/>
              </a:rPr>
              <a:t>Set</a:t>
            </a:r>
            <a:r>
              <a:rPr lang="zh-CN" altLang="en-US" sz="2400" dirty="0" smtClean="0">
                <a:latin typeface="+mj-ea"/>
              </a:rPr>
              <a:t>类型</a:t>
            </a:r>
          </a:p>
        </p:txBody>
      </p:sp>
      <p:sp>
        <p:nvSpPr>
          <p:cNvPr id="3" name="矩形 2"/>
          <p:cNvSpPr/>
          <p:nvPr/>
        </p:nvSpPr>
        <p:spPr>
          <a:xfrm>
            <a:off x="7361444" y="2007242"/>
            <a:ext cx="4475480" cy="1198880"/>
          </a:xfrm>
          <a:prstGeom prst="rect">
            <a:avLst/>
          </a:prstGeom>
        </p:spPr>
        <p:txBody>
          <a:bodyPr wrap="none">
            <a:spAutoFit/>
          </a:bodyPr>
          <a:lstStyle/>
          <a:p>
            <a:r>
              <a:rPr lang="zh-CN" altLang="en-US" sz="3600" dirty="0">
                <a:solidFill>
                  <a:srgbClr val="000000"/>
                </a:solidFill>
              </a:rPr>
              <a:t>第</a:t>
            </a:r>
            <a:r>
              <a:rPr lang="en-US" altLang="zh-CN" sz="3600" dirty="0">
                <a:solidFill>
                  <a:srgbClr val="000000"/>
                </a:solidFill>
              </a:rPr>
              <a:t>2</a:t>
            </a:r>
            <a:r>
              <a:rPr lang="zh-CN" altLang="en-US" sz="3600" dirty="0">
                <a:solidFill>
                  <a:srgbClr val="000000"/>
                </a:solidFill>
              </a:rPr>
              <a:t>章 </a:t>
            </a:r>
            <a:r>
              <a:rPr lang="en-US" altLang="zh-CN" sz="3600" dirty="0" err="1" smtClean="0">
                <a:solidFill>
                  <a:srgbClr val="000000"/>
                </a:solidFill>
              </a:rPr>
              <a:t>Redis</a:t>
            </a:r>
            <a:r>
              <a:rPr lang="zh-CN" altLang="en-US" sz="3600" dirty="0" err="1" smtClean="0">
                <a:solidFill>
                  <a:srgbClr val="000000"/>
                </a:solidFill>
              </a:rPr>
              <a:t>常用数据</a:t>
            </a:r>
          </a:p>
          <a:p>
            <a:r>
              <a:rPr lang="zh-CN" altLang="en-US" sz="3600" dirty="0" err="1" smtClean="0">
                <a:solidFill>
                  <a:srgbClr val="000000"/>
                </a:solidFill>
              </a:rPr>
              <a:t>类型及命令</a:t>
            </a:r>
          </a:p>
        </p:txBody>
      </p:sp>
      <p:cxnSp>
        <p:nvCxnSpPr>
          <p:cNvPr id="5" name="直接连接符 4"/>
          <p:cNvCxnSpPr/>
          <p:nvPr/>
        </p:nvCxnSpPr>
        <p:spPr>
          <a:xfrm>
            <a:off x="7421733" y="3190471"/>
            <a:ext cx="4125389"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7361663" y="3247028"/>
            <a:ext cx="4329575" cy="530594"/>
          </a:xfrm>
          <a:prstGeom prst="rect">
            <a:avLst/>
          </a:prstGeom>
        </p:spPr>
        <p:txBody>
          <a:bodyPr wrap="square">
            <a:spAutoFit/>
          </a:bodyPr>
          <a:lstStyle/>
          <a:p>
            <a:pPr algn="ctr">
              <a:lnSpc>
                <a:spcPct val="132000"/>
              </a:lnSpc>
            </a:pPr>
            <a:r>
              <a:rPr lang="zh-CN" altLang="en-US" sz="2400" dirty="0">
                <a:solidFill>
                  <a:srgbClr val="002060"/>
                </a:solidFill>
              </a:rPr>
              <a:t>主讲：王红玲    主审：汤小丹</a:t>
            </a:r>
            <a:endParaRPr lang="en-US" altLang="zh-CN" sz="2400" dirty="0">
              <a:solidFill>
                <a:srgbClr val="002060"/>
              </a:solidFill>
            </a:endParaRPr>
          </a:p>
        </p:txBody>
      </p: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70048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322153"/>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943818"/>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565483"/>
            <a:ext cx="527050" cy="527050"/>
          </a:xfrm>
          <a:prstGeom prst="rect">
            <a:avLst/>
          </a:prstGeom>
          <a:ln>
            <a:noFill/>
          </a:ln>
          <a:effectLst>
            <a:softEdge rad="0"/>
          </a:effectLst>
        </p:spPr>
      </p:pic>
      <p:sp>
        <p:nvSpPr>
          <p:cNvPr id="2" name="矩形 1"/>
          <p:cNvSpPr/>
          <p:nvPr/>
        </p:nvSpPr>
        <p:spPr>
          <a:xfrm>
            <a:off x="1696468" y="4222888"/>
            <a:ext cx="3488967" cy="460375"/>
          </a:xfrm>
          <a:prstGeom prst="rect">
            <a:avLst/>
          </a:prstGeom>
        </p:spPr>
        <p:txBody>
          <a:bodyPr wrap="square">
            <a:spAutoFit/>
          </a:bodyPr>
          <a:lstStyle/>
          <a:p>
            <a:r>
              <a:rPr lang="en-US" altLang="zh-CN" sz="2400" dirty="0">
                <a:latin typeface="+mj-ea"/>
              </a:rPr>
              <a:t>2.5 Sorted Set</a:t>
            </a:r>
            <a:r>
              <a:rPr lang="zh-CN" altLang="en-US" sz="2400" dirty="0">
                <a:latin typeface="+mj-ea"/>
              </a:rPr>
              <a:t>类型</a:t>
            </a:r>
          </a:p>
        </p:txBody>
      </p:sp>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187148"/>
            <a:ext cx="527050" cy="527050"/>
          </a:xfrm>
          <a:prstGeom prst="rect">
            <a:avLst/>
          </a:prstGeom>
          <a:ln>
            <a:noFill/>
          </a:ln>
          <a:effectLst>
            <a:softEdge rad="0"/>
          </a:effectLst>
        </p:spPr>
      </p:pic>
      <p:sp>
        <p:nvSpPr>
          <p:cNvPr id="7" name="矩形 6"/>
          <p:cNvSpPr/>
          <p:nvPr/>
        </p:nvSpPr>
        <p:spPr>
          <a:xfrm>
            <a:off x="1696720" y="4841875"/>
            <a:ext cx="3681095" cy="460375"/>
          </a:xfrm>
          <a:prstGeom prst="rect">
            <a:avLst/>
          </a:prstGeom>
        </p:spPr>
        <p:txBody>
          <a:bodyPr wrap="square">
            <a:spAutoFit/>
          </a:bodyPr>
          <a:lstStyle/>
          <a:p>
            <a:r>
              <a:rPr lang="en-US" altLang="zh-CN" sz="2400" dirty="0">
                <a:latin typeface="+mj-ea"/>
              </a:rPr>
              <a:t>2.6 Redis HyperLogLog</a:t>
            </a:r>
          </a:p>
        </p:txBody>
      </p:sp>
      <p:pic>
        <p:nvPicPr>
          <p:cNvPr id="9" name="图片 8"/>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808813"/>
            <a:ext cx="527050" cy="527050"/>
          </a:xfrm>
          <a:prstGeom prst="rect">
            <a:avLst/>
          </a:prstGeom>
          <a:ln>
            <a:noFill/>
          </a:ln>
          <a:effectLst>
            <a:softEdge rad="0"/>
          </a:effectLst>
        </p:spPr>
      </p:pic>
      <p:sp>
        <p:nvSpPr>
          <p:cNvPr id="10" name="矩形 9"/>
          <p:cNvSpPr/>
          <p:nvPr/>
        </p:nvSpPr>
        <p:spPr>
          <a:xfrm>
            <a:off x="1696468" y="1742578"/>
            <a:ext cx="3488967" cy="460375"/>
          </a:xfrm>
          <a:prstGeom prst="rect">
            <a:avLst/>
          </a:prstGeom>
        </p:spPr>
        <p:txBody>
          <a:bodyPr wrap="square">
            <a:spAutoFit/>
          </a:bodyPr>
          <a:lstStyle/>
          <a:p>
            <a:r>
              <a:rPr lang="en-US" altLang="zh-CN" sz="2400" dirty="0">
                <a:latin typeface="+mj-ea"/>
              </a:rPr>
              <a:t>2.1 String</a:t>
            </a:r>
            <a:r>
              <a:rPr lang="zh-CN" altLang="en-US" sz="2400" dirty="0" err="1" smtClean="0">
                <a:latin typeface="+mj-ea"/>
              </a:rPr>
              <a:t>类型</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现代操作系统的新功能</a:t>
            </a:r>
          </a:p>
        </p:txBody>
      </p:sp>
      <p:sp>
        <p:nvSpPr>
          <p:cNvPr id="39" name="îśḻiďé"/>
          <p:cNvSpPr/>
          <p:nvPr/>
        </p:nvSpPr>
        <p:spPr bwMode="auto">
          <a:xfrm>
            <a:off x="1614502" y="1788829"/>
            <a:ext cx="846430" cy="846430"/>
          </a:xfrm>
          <a:prstGeom prst="ellipse">
            <a:avLst/>
          </a:prstGeom>
          <a:solidFill>
            <a:schemeClr val="accent2"/>
          </a:solidFill>
          <a:ln>
            <a:noFill/>
          </a:ln>
        </p:spPr>
        <p:txBody>
          <a:bodyPr vert="horz" wrap="square" lIns="91440" tIns="45720" rIns="91440" bIns="45720" numCol="1" anchor="t" anchorCtr="0" compatLnSpc="1">
            <a:normAutofit/>
          </a:bodyPr>
          <a:lstStyle/>
          <a:p>
            <a:endParaRPr lang="en-US"/>
          </a:p>
        </p:txBody>
      </p:sp>
      <p:sp>
        <p:nvSpPr>
          <p:cNvPr id="40" name="išľiďe"/>
          <p:cNvSpPr/>
          <p:nvPr/>
        </p:nvSpPr>
        <p:spPr bwMode="auto">
          <a:xfrm>
            <a:off x="2217385" y="3230616"/>
            <a:ext cx="847397" cy="846430"/>
          </a:xfrm>
          <a:prstGeom prst="ellipse">
            <a:avLst/>
          </a:prstGeom>
          <a:solidFill>
            <a:schemeClr val="accent3"/>
          </a:solidFill>
          <a:ln>
            <a:noFill/>
          </a:ln>
        </p:spPr>
        <p:txBody>
          <a:bodyPr vert="horz" wrap="square" lIns="91440" tIns="45720" rIns="91440" bIns="45720" numCol="1" anchor="t" anchorCtr="0" compatLnSpc="1">
            <a:normAutofit/>
          </a:bodyPr>
          <a:lstStyle/>
          <a:p>
            <a:endParaRPr lang="en-US"/>
          </a:p>
        </p:txBody>
      </p:sp>
      <p:sp>
        <p:nvSpPr>
          <p:cNvPr id="43" name="íśľîḋé"/>
          <p:cNvSpPr/>
          <p:nvPr/>
        </p:nvSpPr>
        <p:spPr bwMode="auto">
          <a:xfrm>
            <a:off x="1620619" y="4674977"/>
            <a:ext cx="846430" cy="847396"/>
          </a:xfrm>
          <a:prstGeom prst="ellipse">
            <a:avLst/>
          </a:prstGeom>
          <a:solidFill>
            <a:schemeClr val="accent4"/>
          </a:solidFill>
          <a:ln>
            <a:noFill/>
          </a:ln>
        </p:spPr>
        <p:txBody>
          <a:bodyPr vert="horz" wrap="square" lIns="91440" tIns="45720" rIns="91440" bIns="45720" numCol="1" anchor="t" anchorCtr="0" compatLnSpc="1">
            <a:normAutofit/>
          </a:bodyPr>
          <a:lstStyle/>
          <a:p>
            <a:endParaRPr lang="en-US"/>
          </a:p>
        </p:txBody>
      </p:sp>
      <p:sp>
        <p:nvSpPr>
          <p:cNvPr id="44" name="ïṡḷidè"/>
          <p:cNvSpPr/>
          <p:nvPr/>
        </p:nvSpPr>
        <p:spPr bwMode="auto">
          <a:xfrm>
            <a:off x="2468728" y="3481736"/>
            <a:ext cx="344710" cy="344189"/>
          </a:xfrm>
          <a:custGeom>
            <a:avLst/>
            <a:gdLst>
              <a:gd name="connsiteX0" fmla="*/ 106370 w 607639"/>
              <a:gd name="connsiteY0" fmla="*/ 436610 h 606722"/>
              <a:gd name="connsiteX1" fmla="*/ 61329 w 607639"/>
              <a:gd name="connsiteY1" fmla="*/ 480515 h 606722"/>
              <a:gd name="connsiteX2" fmla="*/ 126397 w 607639"/>
              <a:gd name="connsiteY2" fmla="*/ 545485 h 606722"/>
              <a:gd name="connsiteX3" fmla="*/ 170369 w 607639"/>
              <a:gd name="connsiteY3" fmla="*/ 500513 h 606722"/>
              <a:gd name="connsiteX4" fmla="*/ 455714 w 607639"/>
              <a:gd name="connsiteY4" fmla="*/ 404481 h 606722"/>
              <a:gd name="connsiteX5" fmla="*/ 531614 w 607639"/>
              <a:gd name="connsiteY5" fmla="*/ 404481 h 606722"/>
              <a:gd name="connsiteX6" fmla="*/ 531703 w 607639"/>
              <a:gd name="connsiteY6" fmla="*/ 404481 h 606722"/>
              <a:gd name="connsiteX7" fmla="*/ 531792 w 607639"/>
              <a:gd name="connsiteY7" fmla="*/ 404481 h 606722"/>
              <a:gd name="connsiteX8" fmla="*/ 548075 w 607639"/>
              <a:gd name="connsiteY8" fmla="*/ 410525 h 606722"/>
              <a:gd name="connsiteX9" fmla="*/ 551456 w 607639"/>
              <a:gd name="connsiteY9" fmla="*/ 413991 h 606722"/>
              <a:gd name="connsiteX10" fmla="*/ 556973 w 607639"/>
              <a:gd name="connsiteY10" fmla="*/ 429012 h 606722"/>
              <a:gd name="connsiteX11" fmla="*/ 556973 w 607639"/>
              <a:gd name="connsiteY11" fmla="*/ 429811 h 606722"/>
              <a:gd name="connsiteX12" fmla="*/ 556973 w 607639"/>
              <a:gd name="connsiteY12" fmla="*/ 505625 h 606722"/>
              <a:gd name="connsiteX13" fmla="*/ 531614 w 607639"/>
              <a:gd name="connsiteY13" fmla="*/ 530867 h 606722"/>
              <a:gd name="connsiteX14" fmla="*/ 506343 w 607639"/>
              <a:gd name="connsiteY14" fmla="*/ 505625 h 606722"/>
              <a:gd name="connsiteX15" fmla="*/ 476001 w 607639"/>
              <a:gd name="connsiteY15" fmla="*/ 546065 h 606722"/>
              <a:gd name="connsiteX16" fmla="*/ 455714 w 607639"/>
              <a:gd name="connsiteY16" fmla="*/ 556197 h 606722"/>
              <a:gd name="connsiteX17" fmla="*/ 440498 w 607639"/>
              <a:gd name="connsiteY17" fmla="*/ 551131 h 606722"/>
              <a:gd name="connsiteX18" fmla="*/ 435515 w 607639"/>
              <a:gd name="connsiteY18" fmla="*/ 515757 h 606722"/>
              <a:gd name="connsiteX19" fmla="*/ 481073 w 607639"/>
              <a:gd name="connsiteY19" fmla="*/ 455053 h 606722"/>
              <a:gd name="connsiteX20" fmla="*/ 455714 w 607639"/>
              <a:gd name="connsiteY20" fmla="*/ 455053 h 606722"/>
              <a:gd name="connsiteX21" fmla="*/ 430443 w 607639"/>
              <a:gd name="connsiteY21" fmla="*/ 429811 h 606722"/>
              <a:gd name="connsiteX22" fmla="*/ 455714 w 607639"/>
              <a:gd name="connsiteY22" fmla="*/ 404481 h 606722"/>
              <a:gd name="connsiteX23" fmla="*/ 157786 w 607639"/>
              <a:gd name="connsiteY23" fmla="*/ 282117 h 606722"/>
              <a:gd name="connsiteX24" fmla="*/ 175710 w 607639"/>
              <a:gd name="connsiteY24" fmla="*/ 289516 h 606722"/>
              <a:gd name="connsiteX25" fmla="*/ 317685 w 607639"/>
              <a:gd name="connsiteY25" fmla="*/ 431277 h 606722"/>
              <a:gd name="connsiteX26" fmla="*/ 317685 w 607639"/>
              <a:gd name="connsiteY26" fmla="*/ 467006 h 606722"/>
              <a:gd name="connsiteX27" fmla="*/ 245229 w 607639"/>
              <a:gd name="connsiteY27" fmla="*/ 539441 h 606722"/>
              <a:gd name="connsiteX28" fmla="*/ 227248 w 607639"/>
              <a:gd name="connsiteY28" fmla="*/ 546818 h 606722"/>
              <a:gd name="connsiteX29" fmla="*/ 209357 w 607639"/>
              <a:gd name="connsiteY29" fmla="*/ 539441 h 606722"/>
              <a:gd name="connsiteX30" fmla="*/ 206241 w 607639"/>
              <a:gd name="connsiteY30" fmla="*/ 536242 h 606722"/>
              <a:gd name="connsiteX31" fmla="*/ 144734 w 607639"/>
              <a:gd name="connsiteY31" fmla="*/ 599079 h 606722"/>
              <a:gd name="connsiteX32" fmla="*/ 126753 w 607639"/>
              <a:gd name="connsiteY32" fmla="*/ 606722 h 606722"/>
              <a:gd name="connsiteX33" fmla="*/ 126575 w 607639"/>
              <a:gd name="connsiteY33" fmla="*/ 606722 h 606722"/>
              <a:gd name="connsiteX34" fmla="*/ 108684 w 607639"/>
              <a:gd name="connsiteY34" fmla="*/ 599256 h 606722"/>
              <a:gd name="connsiteX35" fmla="*/ 7388 w 607639"/>
              <a:gd name="connsiteY35" fmla="*/ 498113 h 606722"/>
              <a:gd name="connsiteX36" fmla="*/ 0 w 607639"/>
              <a:gd name="connsiteY36" fmla="*/ 480160 h 606722"/>
              <a:gd name="connsiteX37" fmla="*/ 7655 w 607639"/>
              <a:gd name="connsiteY37" fmla="*/ 462206 h 606722"/>
              <a:gd name="connsiteX38" fmla="*/ 70587 w 607639"/>
              <a:gd name="connsiteY38" fmla="*/ 400792 h 606722"/>
              <a:gd name="connsiteX39" fmla="*/ 67382 w 607639"/>
              <a:gd name="connsiteY39" fmla="*/ 397681 h 606722"/>
              <a:gd name="connsiteX40" fmla="*/ 59994 w 607639"/>
              <a:gd name="connsiteY40" fmla="*/ 379728 h 606722"/>
              <a:gd name="connsiteX41" fmla="*/ 67382 w 607639"/>
              <a:gd name="connsiteY41" fmla="*/ 361863 h 606722"/>
              <a:gd name="connsiteX42" fmla="*/ 139927 w 607639"/>
              <a:gd name="connsiteY42" fmla="*/ 289516 h 606722"/>
              <a:gd name="connsiteX43" fmla="*/ 157786 w 607639"/>
              <a:gd name="connsiteY43" fmla="*/ 282117 h 606722"/>
              <a:gd name="connsiteX44" fmla="*/ 363724 w 607639"/>
              <a:gd name="connsiteY44" fmla="*/ 101159 h 606722"/>
              <a:gd name="connsiteX45" fmla="*/ 353254 w 607639"/>
              <a:gd name="connsiteY45" fmla="*/ 105492 h 606722"/>
              <a:gd name="connsiteX46" fmla="*/ 320945 w 607639"/>
              <a:gd name="connsiteY46" fmla="*/ 137752 h 606722"/>
              <a:gd name="connsiteX47" fmla="*/ 323793 w 607639"/>
              <a:gd name="connsiteY47" fmla="*/ 139974 h 606722"/>
              <a:gd name="connsiteX48" fmla="*/ 335898 w 607639"/>
              <a:gd name="connsiteY48" fmla="*/ 148417 h 606722"/>
              <a:gd name="connsiteX49" fmla="*/ 341149 w 607639"/>
              <a:gd name="connsiteY49" fmla="*/ 151794 h 606722"/>
              <a:gd name="connsiteX50" fmla="*/ 359930 w 607639"/>
              <a:gd name="connsiteY50" fmla="*/ 162459 h 606722"/>
              <a:gd name="connsiteX51" fmla="*/ 408439 w 607639"/>
              <a:gd name="connsiteY51" fmla="*/ 198897 h 606722"/>
              <a:gd name="connsiteX52" fmla="*/ 444933 w 607639"/>
              <a:gd name="connsiteY52" fmla="*/ 247243 h 606722"/>
              <a:gd name="connsiteX53" fmla="*/ 455614 w 607639"/>
              <a:gd name="connsiteY53" fmla="*/ 266084 h 606722"/>
              <a:gd name="connsiteX54" fmla="*/ 458907 w 607639"/>
              <a:gd name="connsiteY54" fmla="*/ 271239 h 606722"/>
              <a:gd name="connsiteX55" fmla="*/ 467452 w 607639"/>
              <a:gd name="connsiteY55" fmla="*/ 283326 h 606722"/>
              <a:gd name="connsiteX56" fmla="*/ 469677 w 607639"/>
              <a:gd name="connsiteY56" fmla="*/ 286258 h 606722"/>
              <a:gd name="connsiteX57" fmla="*/ 501987 w 607639"/>
              <a:gd name="connsiteY57" fmla="*/ 253998 h 606722"/>
              <a:gd name="connsiteX58" fmla="*/ 501987 w 607639"/>
              <a:gd name="connsiteY58" fmla="*/ 233024 h 606722"/>
              <a:gd name="connsiteX59" fmla="*/ 374260 w 607639"/>
              <a:gd name="connsiteY59" fmla="*/ 105492 h 606722"/>
              <a:gd name="connsiteX60" fmla="*/ 363724 w 607639"/>
              <a:gd name="connsiteY60" fmla="*/ 101159 h 606722"/>
              <a:gd name="connsiteX61" fmla="*/ 177209 w 607639"/>
              <a:gd name="connsiteY61" fmla="*/ 50521 h 606722"/>
              <a:gd name="connsiteX62" fmla="*/ 195096 w 607639"/>
              <a:gd name="connsiteY62" fmla="*/ 57919 h 606722"/>
              <a:gd name="connsiteX63" fmla="*/ 195096 w 607639"/>
              <a:gd name="connsiteY63" fmla="*/ 93644 h 606722"/>
              <a:gd name="connsiteX64" fmla="*/ 137075 w 607639"/>
              <a:gd name="connsiteY64" fmla="*/ 151675 h 606722"/>
              <a:gd name="connsiteX65" fmla="*/ 151936 w 607639"/>
              <a:gd name="connsiteY65" fmla="*/ 151675 h 606722"/>
              <a:gd name="connsiteX66" fmla="*/ 177209 w 607639"/>
              <a:gd name="connsiteY66" fmla="*/ 176914 h 606722"/>
              <a:gd name="connsiteX67" fmla="*/ 151936 w 607639"/>
              <a:gd name="connsiteY67" fmla="*/ 202241 h 606722"/>
              <a:gd name="connsiteX68" fmla="*/ 75939 w 607639"/>
              <a:gd name="connsiteY68" fmla="*/ 202241 h 606722"/>
              <a:gd name="connsiteX69" fmla="*/ 59387 w 607639"/>
              <a:gd name="connsiteY69" fmla="*/ 196020 h 606722"/>
              <a:gd name="connsiteX70" fmla="*/ 55916 w 607639"/>
              <a:gd name="connsiteY70" fmla="*/ 192288 h 606722"/>
              <a:gd name="connsiteX71" fmla="*/ 50755 w 607639"/>
              <a:gd name="connsiteY71" fmla="*/ 178691 h 606722"/>
              <a:gd name="connsiteX72" fmla="*/ 50666 w 607639"/>
              <a:gd name="connsiteY72" fmla="*/ 176736 h 606722"/>
              <a:gd name="connsiteX73" fmla="*/ 50666 w 607639"/>
              <a:gd name="connsiteY73" fmla="*/ 101109 h 606722"/>
              <a:gd name="connsiteX74" fmla="*/ 75939 w 607639"/>
              <a:gd name="connsiteY74" fmla="*/ 75782 h 606722"/>
              <a:gd name="connsiteX75" fmla="*/ 101301 w 607639"/>
              <a:gd name="connsiteY75" fmla="*/ 101109 h 606722"/>
              <a:gd name="connsiteX76" fmla="*/ 101301 w 607639"/>
              <a:gd name="connsiteY76" fmla="*/ 115861 h 606722"/>
              <a:gd name="connsiteX77" fmla="*/ 159322 w 607639"/>
              <a:gd name="connsiteY77" fmla="*/ 57919 h 606722"/>
              <a:gd name="connsiteX78" fmla="*/ 177209 w 607639"/>
              <a:gd name="connsiteY78" fmla="*/ 50521 h 606722"/>
              <a:gd name="connsiteX79" fmla="*/ 480892 w 607639"/>
              <a:gd name="connsiteY79" fmla="*/ 0 h 606722"/>
              <a:gd name="connsiteX80" fmla="*/ 498960 w 607639"/>
              <a:gd name="connsiteY80" fmla="*/ 7376 h 606722"/>
              <a:gd name="connsiteX81" fmla="*/ 600162 w 607639"/>
              <a:gd name="connsiteY81" fmla="*/ 108513 h 606722"/>
              <a:gd name="connsiteX82" fmla="*/ 607639 w 607639"/>
              <a:gd name="connsiteY82" fmla="*/ 126554 h 606722"/>
              <a:gd name="connsiteX83" fmla="*/ 599984 w 607639"/>
              <a:gd name="connsiteY83" fmla="*/ 144507 h 606722"/>
              <a:gd name="connsiteX84" fmla="*/ 541417 w 607639"/>
              <a:gd name="connsiteY84" fmla="*/ 201741 h 606722"/>
              <a:gd name="connsiteX85" fmla="*/ 537768 w 607639"/>
              <a:gd name="connsiteY85" fmla="*/ 289724 h 606722"/>
              <a:gd name="connsiteX86" fmla="*/ 486499 w 607639"/>
              <a:gd name="connsiteY86" fmla="*/ 340915 h 606722"/>
              <a:gd name="connsiteX87" fmla="*/ 484719 w 607639"/>
              <a:gd name="connsiteY87" fmla="*/ 342159 h 606722"/>
              <a:gd name="connsiteX88" fmla="*/ 480002 w 607639"/>
              <a:gd name="connsiteY88" fmla="*/ 345270 h 606722"/>
              <a:gd name="connsiteX89" fmla="*/ 476530 w 607639"/>
              <a:gd name="connsiteY89" fmla="*/ 346869 h 606722"/>
              <a:gd name="connsiteX90" fmla="*/ 471190 w 607639"/>
              <a:gd name="connsiteY90" fmla="*/ 347847 h 606722"/>
              <a:gd name="connsiteX91" fmla="*/ 468609 w 607639"/>
              <a:gd name="connsiteY91" fmla="*/ 348380 h 606722"/>
              <a:gd name="connsiteX92" fmla="*/ 467452 w 607639"/>
              <a:gd name="connsiteY92" fmla="*/ 348114 h 606722"/>
              <a:gd name="connsiteX93" fmla="*/ 462111 w 607639"/>
              <a:gd name="connsiteY93" fmla="*/ 347047 h 606722"/>
              <a:gd name="connsiteX94" fmla="*/ 458373 w 607639"/>
              <a:gd name="connsiteY94" fmla="*/ 345981 h 606722"/>
              <a:gd name="connsiteX95" fmla="*/ 457305 w 607639"/>
              <a:gd name="connsiteY95" fmla="*/ 345714 h 606722"/>
              <a:gd name="connsiteX96" fmla="*/ 428911 w 607639"/>
              <a:gd name="connsiteY96" fmla="*/ 331494 h 606722"/>
              <a:gd name="connsiteX97" fmla="*/ 407282 w 607639"/>
              <a:gd name="connsiteY97" fmla="*/ 335049 h 606722"/>
              <a:gd name="connsiteX98" fmla="*/ 376308 w 607639"/>
              <a:gd name="connsiteY98" fmla="*/ 365888 h 606722"/>
              <a:gd name="connsiteX99" fmla="*/ 344265 w 607639"/>
              <a:gd name="connsiteY99" fmla="*/ 379219 h 606722"/>
              <a:gd name="connsiteX100" fmla="*/ 312133 w 607639"/>
              <a:gd name="connsiteY100" fmla="*/ 365888 h 606722"/>
              <a:gd name="connsiteX101" fmla="*/ 241194 w 607639"/>
              <a:gd name="connsiteY101" fmla="*/ 295057 h 606722"/>
              <a:gd name="connsiteX102" fmla="*/ 241194 w 607639"/>
              <a:gd name="connsiteY102" fmla="*/ 230891 h 606722"/>
              <a:gd name="connsiteX103" fmla="*/ 272079 w 607639"/>
              <a:gd name="connsiteY103" fmla="*/ 200052 h 606722"/>
              <a:gd name="connsiteX104" fmla="*/ 275551 w 607639"/>
              <a:gd name="connsiteY104" fmla="*/ 178456 h 606722"/>
              <a:gd name="connsiteX105" fmla="*/ 261398 w 607639"/>
              <a:gd name="connsiteY105" fmla="*/ 150106 h 606722"/>
              <a:gd name="connsiteX106" fmla="*/ 261131 w 607639"/>
              <a:gd name="connsiteY106" fmla="*/ 149039 h 606722"/>
              <a:gd name="connsiteX107" fmla="*/ 260063 w 607639"/>
              <a:gd name="connsiteY107" fmla="*/ 145307 h 606722"/>
              <a:gd name="connsiteX108" fmla="*/ 258995 w 607639"/>
              <a:gd name="connsiteY108" fmla="*/ 139974 h 606722"/>
              <a:gd name="connsiteX109" fmla="*/ 259262 w 607639"/>
              <a:gd name="connsiteY109" fmla="*/ 136242 h 606722"/>
              <a:gd name="connsiteX110" fmla="*/ 260241 w 607639"/>
              <a:gd name="connsiteY110" fmla="*/ 130909 h 606722"/>
              <a:gd name="connsiteX111" fmla="*/ 261754 w 607639"/>
              <a:gd name="connsiteY111" fmla="*/ 127443 h 606722"/>
              <a:gd name="connsiteX112" fmla="*/ 264959 w 607639"/>
              <a:gd name="connsiteY112" fmla="*/ 122733 h 606722"/>
              <a:gd name="connsiteX113" fmla="*/ 266116 w 607639"/>
              <a:gd name="connsiteY113" fmla="*/ 120955 h 606722"/>
              <a:gd name="connsiteX114" fmla="*/ 317384 w 607639"/>
              <a:gd name="connsiteY114" fmla="*/ 69676 h 606722"/>
              <a:gd name="connsiteX115" fmla="*/ 405591 w 607639"/>
              <a:gd name="connsiteY115" fmla="*/ 66121 h 606722"/>
              <a:gd name="connsiteX116" fmla="*/ 462912 w 607639"/>
              <a:gd name="connsiteY116" fmla="*/ 7554 h 606722"/>
              <a:gd name="connsiteX117" fmla="*/ 480892 w 607639"/>
              <a:gd name="connsiteY117"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607639" h="606722">
                <a:moveTo>
                  <a:pt x="106370" y="436610"/>
                </a:moveTo>
                <a:lnTo>
                  <a:pt x="61329" y="480515"/>
                </a:lnTo>
                <a:lnTo>
                  <a:pt x="126397" y="545485"/>
                </a:lnTo>
                <a:lnTo>
                  <a:pt x="170369" y="500513"/>
                </a:lnTo>
                <a:close/>
                <a:moveTo>
                  <a:pt x="455714" y="404481"/>
                </a:moveTo>
                <a:lnTo>
                  <a:pt x="531614" y="404481"/>
                </a:lnTo>
                <a:lnTo>
                  <a:pt x="531703" y="404481"/>
                </a:lnTo>
                <a:lnTo>
                  <a:pt x="531792" y="404481"/>
                </a:lnTo>
                <a:cubicBezTo>
                  <a:pt x="538020" y="404481"/>
                  <a:pt x="543715" y="406792"/>
                  <a:pt x="548075" y="410525"/>
                </a:cubicBezTo>
                <a:cubicBezTo>
                  <a:pt x="549321" y="411591"/>
                  <a:pt x="550388" y="412747"/>
                  <a:pt x="551456" y="413991"/>
                </a:cubicBezTo>
                <a:cubicBezTo>
                  <a:pt x="554748" y="418079"/>
                  <a:pt x="556795" y="423323"/>
                  <a:pt x="556973" y="429012"/>
                </a:cubicBezTo>
                <a:cubicBezTo>
                  <a:pt x="556973" y="429278"/>
                  <a:pt x="556973" y="429545"/>
                  <a:pt x="556973" y="429811"/>
                </a:cubicBezTo>
                <a:lnTo>
                  <a:pt x="556973" y="505625"/>
                </a:lnTo>
                <a:cubicBezTo>
                  <a:pt x="556973" y="519579"/>
                  <a:pt x="545673" y="530867"/>
                  <a:pt x="531614" y="530867"/>
                </a:cubicBezTo>
                <a:cubicBezTo>
                  <a:pt x="517644" y="530867"/>
                  <a:pt x="506343" y="519579"/>
                  <a:pt x="506343" y="505625"/>
                </a:cubicBezTo>
                <a:lnTo>
                  <a:pt x="476001" y="546065"/>
                </a:lnTo>
                <a:cubicBezTo>
                  <a:pt x="471018" y="552731"/>
                  <a:pt x="463366" y="556197"/>
                  <a:pt x="455714" y="556197"/>
                </a:cubicBezTo>
                <a:cubicBezTo>
                  <a:pt x="450375" y="556197"/>
                  <a:pt x="445125" y="554508"/>
                  <a:pt x="440498" y="551131"/>
                </a:cubicBezTo>
                <a:cubicBezTo>
                  <a:pt x="429375" y="542776"/>
                  <a:pt x="427062" y="526867"/>
                  <a:pt x="435515" y="515757"/>
                </a:cubicBezTo>
                <a:lnTo>
                  <a:pt x="481073" y="455053"/>
                </a:lnTo>
                <a:lnTo>
                  <a:pt x="455714" y="455053"/>
                </a:lnTo>
                <a:cubicBezTo>
                  <a:pt x="441744" y="455053"/>
                  <a:pt x="430443" y="443765"/>
                  <a:pt x="430443" y="429811"/>
                </a:cubicBezTo>
                <a:cubicBezTo>
                  <a:pt x="430443" y="415857"/>
                  <a:pt x="441744" y="404481"/>
                  <a:pt x="455714" y="404481"/>
                </a:cubicBezTo>
                <a:close/>
                <a:moveTo>
                  <a:pt x="157786" y="282117"/>
                </a:moveTo>
                <a:cubicBezTo>
                  <a:pt x="164272" y="282117"/>
                  <a:pt x="170770" y="284584"/>
                  <a:pt x="175710" y="289516"/>
                </a:cubicBezTo>
                <a:lnTo>
                  <a:pt x="317685" y="431277"/>
                </a:lnTo>
                <a:cubicBezTo>
                  <a:pt x="327565" y="441142"/>
                  <a:pt x="327565" y="457140"/>
                  <a:pt x="317685" y="467006"/>
                </a:cubicBezTo>
                <a:lnTo>
                  <a:pt x="245229" y="539441"/>
                </a:lnTo>
                <a:cubicBezTo>
                  <a:pt x="240422" y="544152"/>
                  <a:pt x="234013" y="546818"/>
                  <a:pt x="227248" y="546818"/>
                </a:cubicBezTo>
                <a:cubicBezTo>
                  <a:pt x="220572" y="546818"/>
                  <a:pt x="214163" y="544152"/>
                  <a:pt x="209357" y="539441"/>
                </a:cubicBezTo>
                <a:lnTo>
                  <a:pt x="206241" y="536242"/>
                </a:lnTo>
                <a:lnTo>
                  <a:pt x="144734" y="599079"/>
                </a:lnTo>
                <a:cubicBezTo>
                  <a:pt x="140016" y="603967"/>
                  <a:pt x="133518" y="606633"/>
                  <a:pt x="126753" y="606722"/>
                </a:cubicBezTo>
                <a:lnTo>
                  <a:pt x="126575" y="606722"/>
                </a:lnTo>
                <a:cubicBezTo>
                  <a:pt x="119899" y="606722"/>
                  <a:pt x="113491" y="604056"/>
                  <a:pt x="108684" y="599256"/>
                </a:cubicBezTo>
                <a:lnTo>
                  <a:pt x="7388" y="498113"/>
                </a:lnTo>
                <a:cubicBezTo>
                  <a:pt x="2670" y="493403"/>
                  <a:pt x="0" y="486914"/>
                  <a:pt x="0" y="480160"/>
                </a:cubicBezTo>
                <a:cubicBezTo>
                  <a:pt x="89" y="473405"/>
                  <a:pt x="2759" y="466917"/>
                  <a:pt x="7655" y="462206"/>
                </a:cubicBezTo>
                <a:lnTo>
                  <a:pt x="70587" y="400792"/>
                </a:lnTo>
                <a:lnTo>
                  <a:pt x="67382" y="397681"/>
                </a:lnTo>
                <a:cubicBezTo>
                  <a:pt x="62665" y="392882"/>
                  <a:pt x="59994" y="386482"/>
                  <a:pt x="59994" y="379728"/>
                </a:cubicBezTo>
                <a:cubicBezTo>
                  <a:pt x="59994" y="373062"/>
                  <a:pt x="62665" y="366663"/>
                  <a:pt x="67382" y="361863"/>
                </a:cubicBezTo>
                <a:lnTo>
                  <a:pt x="139927" y="289516"/>
                </a:lnTo>
                <a:cubicBezTo>
                  <a:pt x="144823" y="284584"/>
                  <a:pt x="151299" y="282117"/>
                  <a:pt x="157786" y="282117"/>
                </a:cubicBezTo>
                <a:close/>
                <a:moveTo>
                  <a:pt x="363724" y="101159"/>
                </a:moveTo>
                <a:cubicBezTo>
                  <a:pt x="359930" y="101159"/>
                  <a:pt x="356147" y="102604"/>
                  <a:pt x="353254" y="105492"/>
                </a:cubicBezTo>
                <a:lnTo>
                  <a:pt x="320945" y="137752"/>
                </a:lnTo>
                <a:cubicBezTo>
                  <a:pt x="321835" y="138463"/>
                  <a:pt x="322814" y="139174"/>
                  <a:pt x="323793" y="139974"/>
                </a:cubicBezTo>
                <a:cubicBezTo>
                  <a:pt x="327709" y="142818"/>
                  <a:pt x="331715" y="145662"/>
                  <a:pt x="335898" y="148417"/>
                </a:cubicBezTo>
                <a:cubicBezTo>
                  <a:pt x="337678" y="149572"/>
                  <a:pt x="339369" y="150728"/>
                  <a:pt x="341149" y="151794"/>
                </a:cubicBezTo>
                <a:cubicBezTo>
                  <a:pt x="347113" y="155527"/>
                  <a:pt x="353254" y="159082"/>
                  <a:pt x="359930" y="162459"/>
                </a:cubicBezTo>
                <a:cubicBezTo>
                  <a:pt x="376040" y="170724"/>
                  <a:pt x="392863" y="183344"/>
                  <a:pt x="408439" y="198897"/>
                </a:cubicBezTo>
                <a:cubicBezTo>
                  <a:pt x="424016" y="214449"/>
                  <a:pt x="436655" y="231246"/>
                  <a:pt x="444933" y="247243"/>
                </a:cubicBezTo>
                <a:cubicBezTo>
                  <a:pt x="448315" y="253998"/>
                  <a:pt x="451875" y="260130"/>
                  <a:pt x="455614" y="266084"/>
                </a:cubicBezTo>
                <a:cubicBezTo>
                  <a:pt x="456682" y="267862"/>
                  <a:pt x="457839" y="269550"/>
                  <a:pt x="458907" y="271239"/>
                </a:cubicBezTo>
                <a:cubicBezTo>
                  <a:pt x="461666" y="275416"/>
                  <a:pt x="464514" y="279504"/>
                  <a:pt x="467452" y="283326"/>
                </a:cubicBezTo>
                <a:cubicBezTo>
                  <a:pt x="468164" y="284303"/>
                  <a:pt x="468876" y="285281"/>
                  <a:pt x="469677" y="286258"/>
                </a:cubicBezTo>
                <a:lnTo>
                  <a:pt x="501987" y="253998"/>
                </a:lnTo>
                <a:cubicBezTo>
                  <a:pt x="507772" y="248221"/>
                  <a:pt x="507772" y="238800"/>
                  <a:pt x="501987" y="233024"/>
                </a:cubicBezTo>
                <a:lnTo>
                  <a:pt x="374260" y="105492"/>
                </a:lnTo>
                <a:cubicBezTo>
                  <a:pt x="371323" y="102604"/>
                  <a:pt x="367518" y="101159"/>
                  <a:pt x="363724" y="101159"/>
                </a:cubicBezTo>
                <a:close/>
                <a:moveTo>
                  <a:pt x="177209" y="50521"/>
                </a:moveTo>
                <a:cubicBezTo>
                  <a:pt x="183683" y="50521"/>
                  <a:pt x="190157" y="52987"/>
                  <a:pt x="195096" y="57919"/>
                </a:cubicBezTo>
                <a:cubicBezTo>
                  <a:pt x="205063" y="67784"/>
                  <a:pt x="205063" y="83869"/>
                  <a:pt x="195096" y="93644"/>
                </a:cubicBezTo>
                <a:lnTo>
                  <a:pt x="137075" y="151675"/>
                </a:lnTo>
                <a:lnTo>
                  <a:pt x="151936" y="151675"/>
                </a:lnTo>
                <a:cubicBezTo>
                  <a:pt x="165908" y="151675"/>
                  <a:pt x="177209" y="162961"/>
                  <a:pt x="177209" y="176914"/>
                </a:cubicBezTo>
                <a:cubicBezTo>
                  <a:pt x="177209" y="190866"/>
                  <a:pt x="165908" y="202241"/>
                  <a:pt x="151936" y="202241"/>
                </a:cubicBezTo>
                <a:lnTo>
                  <a:pt x="75939" y="202241"/>
                </a:lnTo>
                <a:cubicBezTo>
                  <a:pt x="69621" y="202241"/>
                  <a:pt x="63836" y="199842"/>
                  <a:pt x="59387" y="196020"/>
                </a:cubicBezTo>
                <a:cubicBezTo>
                  <a:pt x="58141" y="194954"/>
                  <a:pt x="56984" y="193710"/>
                  <a:pt x="55916" y="192288"/>
                </a:cubicBezTo>
                <a:cubicBezTo>
                  <a:pt x="52980" y="188466"/>
                  <a:pt x="51111" y="183845"/>
                  <a:pt x="50755" y="178691"/>
                </a:cubicBezTo>
                <a:cubicBezTo>
                  <a:pt x="50666" y="178069"/>
                  <a:pt x="50666" y="177447"/>
                  <a:pt x="50666" y="176736"/>
                </a:cubicBezTo>
                <a:lnTo>
                  <a:pt x="50666" y="101109"/>
                </a:lnTo>
                <a:cubicBezTo>
                  <a:pt x="50666" y="87157"/>
                  <a:pt x="61968" y="75782"/>
                  <a:pt x="75939" y="75782"/>
                </a:cubicBezTo>
                <a:cubicBezTo>
                  <a:pt x="89910" y="75782"/>
                  <a:pt x="101301" y="87157"/>
                  <a:pt x="101301" y="101109"/>
                </a:cubicBezTo>
                <a:lnTo>
                  <a:pt x="101301" y="115861"/>
                </a:lnTo>
                <a:lnTo>
                  <a:pt x="159322" y="57919"/>
                </a:lnTo>
                <a:cubicBezTo>
                  <a:pt x="164261" y="52987"/>
                  <a:pt x="170735" y="50521"/>
                  <a:pt x="177209" y="50521"/>
                </a:cubicBezTo>
                <a:close/>
                <a:moveTo>
                  <a:pt x="480892" y="0"/>
                </a:moveTo>
                <a:cubicBezTo>
                  <a:pt x="487122" y="0"/>
                  <a:pt x="494154" y="2666"/>
                  <a:pt x="498960" y="7376"/>
                </a:cubicBezTo>
                <a:lnTo>
                  <a:pt x="600162" y="108513"/>
                </a:lnTo>
                <a:cubicBezTo>
                  <a:pt x="604969" y="113312"/>
                  <a:pt x="607639" y="119800"/>
                  <a:pt x="607639" y="126554"/>
                </a:cubicBezTo>
                <a:cubicBezTo>
                  <a:pt x="607550" y="133309"/>
                  <a:pt x="604880" y="139708"/>
                  <a:pt x="599984" y="144507"/>
                </a:cubicBezTo>
                <a:lnTo>
                  <a:pt x="541417" y="201741"/>
                </a:lnTo>
                <a:cubicBezTo>
                  <a:pt x="562957" y="227425"/>
                  <a:pt x="561978" y="265640"/>
                  <a:pt x="537768" y="289724"/>
                </a:cubicBezTo>
                <a:lnTo>
                  <a:pt x="486499" y="340915"/>
                </a:lnTo>
                <a:cubicBezTo>
                  <a:pt x="485965" y="341537"/>
                  <a:pt x="485342" y="341715"/>
                  <a:pt x="484719" y="342159"/>
                </a:cubicBezTo>
                <a:cubicBezTo>
                  <a:pt x="483206" y="343403"/>
                  <a:pt x="481693" y="344470"/>
                  <a:pt x="480002" y="345270"/>
                </a:cubicBezTo>
                <a:cubicBezTo>
                  <a:pt x="478845" y="345892"/>
                  <a:pt x="477688" y="346425"/>
                  <a:pt x="476530" y="346869"/>
                </a:cubicBezTo>
                <a:cubicBezTo>
                  <a:pt x="474750" y="347403"/>
                  <a:pt x="472970" y="347669"/>
                  <a:pt x="471190" y="347847"/>
                </a:cubicBezTo>
                <a:cubicBezTo>
                  <a:pt x="470300" y="347936"/>
                  <a:pt x="469499" y="348380"/>
                  <a:pt x="468609" y="348380"/>
                </a:cubicBezTo>
                <a:cubicBezTo>
                  <a:pt x="468253" y="348380"/>
                  <a:pt x="467808" y="348114"/>
                  <a:pt x="467452" y="348114"/>
                </a:cubicBezTo>
                <a:cubicBezTo>
                  <a:pt x="465582" y="348025"/>
                  <a:pt x="463891" y="347580"/>
                  <a:pt x="462111" y="347047"/>
                </a:cubicBezTo>
                <a:cubicBezTo>
                  <a:pt x="460776" y="346692"/>
                  <a:pt x="459530" y="346514"/>
                  <a:pt x="458373" y="345981"/>
                </a:cubicBezTo>
                <a:cubicBezTo>
                  <a:pt x="458017" y="345892"/>
                  <a:pt x="457661" y="345892"/>
                  <a:pt x="457305" y="345714"/>
                </a:cubicBezTo>
                <a:lnTo>
                  <a:pt x="428911" y="331494"/>
                </a:lnTo>
                <a:cubicBezTo>
                  <a:pt x="421702" y="327940"/>
                  <a:pt x="412979" y="329273"/>
                  <a:pt x="407282" y="335049"/>
                </a:cubicBezTo>
                <a:lnTo>
                  <a:pt x="376308" y="365888"/>
                </a:lnTo>
                <a:cubicBezTo>
                  <a:pt x="367763" y="374509"/>
                  <a:pt x="356370" y="379219"/>
                  <a:pt x="344265" y="379219"/>
                </a:cubicBezTo>
                <a:cubicBezTo>
                  <a:pt x="332160" y="379219"/>
                  <a:pt x="320678" y="374509"/>
                  <a:pt x="312133" y="365888"/>
                </a:cubicBezTo>
                <a:lnTo>
                  <a:pt x="241194" y="295057"/>
                </a:lnTo>
                <a:cubicBezTo>
                  <a:pt x="223481" y="277371"/>
                  <a:pt x="223481" y="248576"/>
                  <a:pt x="241194" y="230891"/>
                </a:cubicBezTo>
                <a:lnTo>
                  <a:pt x="272079" y="200052"/>
                </a:lnTo>
                <a:cubicBezTo>
                  <a:pt x="277776" y="194364"/>
                  <a:pt x="279200" y="185655"/>
                  <a:pt x="275551" y="178456"/>
                </a:cubicBezTo>
                <a:lnTo>
                  <a:pt x="261398" y="150106"/>
                </a:lnTo>
                <a:cubicBezTo>
                  <a:pt x="261220" y="149750"/>
                  <a:pt x="261220" y="149395"/>
                  <a:pt x="261131" y="149039"/>
                </a:cubicBezTo>
                <a:cubicBezTo>
                  <a:pt x="260508" y="147884"/>
                  <a:pt x="260330" y="146640"/>
                  <a:pt x="260063" y="145307"/>
                </a:cubicBezTo>
                <a:cubicBezTo>
                  <a:pt x="259529" y="143529"/>
                  <a:pt x="259084" y="141841"/>
                  <a:pt x="258995" y="139974"/>
                </a:cubicBezTo>
                <a:cubicBezTo>
                  <a:pt x="258906" y="138730"/>
                  <a:pt x="259084" y="137486"/>
                  <a:pt x="259262" y="136242"/>
                </a:cubicBezTo>
                <a:cubicBezTo>
                  <a:pt x="259440" y="134375"/>
                  <a:pt x="259707" y="132687"/>
                  <a:pt x="260241" y="130909"/>
                </a:cubicBezTo>
                <a:cubicBezTo>
                  <a:pt x="260686" y="129754"/>
                  <a:pt x="261220" y="128599"/>
                  <a:pt x="261754" y="127443"/>
                </a:cubicBezTo>
                <a:cubicBezTo>
                  <a:pt x="262644" y="125755"/>
                  <a:pt x="263713" y="124155"/>
                  <a:pt x="264959" y="122733"/>
                </a:cubicBezTo>
                <a:cubicBezTo>
                  <a:pt x="265404" y="122111"/>
                  <a:pt x="265582" y="121400"/>
                  <a:pt x="266116" y="120955"/>
                </a:cubicBezTo>
                <a:lnTo>
                  <a:pt x="317384" y="69676"/>
                </a:lnTo>
                <a:cubicBezTo>
                  <a:pt x="341505" y="45592"/>
                  <a:pt x="379868" y="44525"/>
                  <a:pt x="405591" y="66121"/>
                </a:cubicBezTo>
                <a:lnTo>
                  <a:pt x="462912" y="7554"/>
                </a:lnTo>
                <a:cubicBezTo>
                  <a:pt x="467719" y="2755"/>
                  <a:pt x="474127" y="89"/>
                  <a:pt x="480892" y="0"/>
                </a:cubicBezTo>
                <a:close/>
              </a:path>
            </a:pathLst>
          </a:custGeom>
          <a:solidFill>
            <a:schemeClr val="bg1"/>
          </a:solidFill>
          <a:ln>
            <a:noFill/>
          </a:ln>
        </p:spPr>
        <p:txBody>
          <a:bodyPr vert="horz" wrap="square" lIns="91440" tIns="45720" rIns="91440" bIns="45720" numCol="1" anchor="t" anchorCtr="0" compatLnSpc="1">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5" name="iṡļîḍé"/>
          <p:cNvSpPr/>
          <p:nvPr/>
        </p:nvSpPr>
        <p:spPr bwMode="auto">
          <a:xfrm>
            <a:off x="1871479" y="4926581"/>
            <a:ext cx="344710" cy="344189"/>
          </a:xfrm>
          <a:custGeom>
            <a:avLst/>
            <a:gdLst>
              <a:gd name="connsiteX0" fmla="*/ 257564 w 607639"/>
              <a:gd name="connsiteY0" fmla="*/ 92370 h 606722"/>
              <a:gd name="connsiteX1" fmla="*/ 277411 w 607639"/>
              <a:gd name="connsiteY1" fmla="*/ 112098 h 606722"/>
              <a:gd name="connsiteX2" fmla="*/ 277411 w 607639"/>
              <a:gd name="connsiteY2" fmla="*/ 329729 h 606722"/>
              <a:gd name="connsiteX3" fmla="*/ 495281 w 607639"/>
              <a:gd name="connsiteY3" fmla="*/ 329729 h 606722"/>
              <a:gd name="connsiteX4" fmla="*/ 515128 w 607639"/>
              <a:gd name="connsiteY4" fmla="*/ 349546 h 606722"/>
              <a:gd name="connsiteX5" fmla="*/ 257564 w 607639"/>
              <a:gd name="connsiteY5" fmla="*/ 606722 h 606722"/>
              <a:gd name="connsiteX6" fmla="*/ 0 w 607639"/>
              <a:gd name="connsiteY6" fmla="*/ 349546 h 606722"/>
              <a:gd name="connsiteX7" fmla="*/ 257564 w 607639"/>
              <a:gd name="connsiteY7" fmla="*/ 92370 h 606722"/>
              <a:gd name="connsiteX8" fmla="*/ 350027 w 607639"/>
              <a:gd name="connsiteY8" fmla="*/ 0 h 606722"/>
              <a:gd name="connsiteX9" fmla="*/ 607639 w 607639"/>
              <a:gd name="connsiteY9" fmla="*/ 257220 h 606722"/>
              <a:gd name="connsiteX10" fmla="*/ 587788 w 607639"/>
              <a:gd name="connsiteY10" fmla="*/ 277040 h 606722"/>
              <a:gd name="connsiteX11" fmla="*/ 350027 w 607639"/>
              <a:gd name="connsiteY11" fmla="*/ 277040 h 606722"/>
              <a:gd name="connsiteX12" fmla="*/ 330176 w 607639"/>
              <a:gd name="connsiteY12" fmla="*/ 257220 h 606722"/>
              <a:gd name="connsiteX13" fmla="*/ 330176 w 607639"/>
              <a:gd name="connsiteY13" fmla="*/ 19820 h 606722"/>
              <a:gd name="connsiteX14" fmla="*/ 350027 w 607639"/>
              <a:gd name="connsiteY14"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7639" h="606722">
                <a:moveTo>
                  <a:pt x="257564" y="92370"/>
                </a:moveTo>
                <a:cubicBezTo>
                  <a:pt x="268511" y="92370"/>
                  <a:pt x="277411" y="101168"/>
                  <a:pt x="277411" y="112098"/>
                </a:cubicBezTo>
                <a:lnTo>
                  <a:pt x="277411" y="329729"/>
                </a:lnTo>
                <a:lnTo>
                  <a:pt x="495281" y="329729"/>
                </a:lnTo>
                <a:cubicBezTo>
                  <a:pt x="506228" y="329729"/>
                  <a:pt x="515128" y="338616"/>
                  <a:pt x="515128" y="349546"/>
                </a:cubicBezTo>
                <a:cubicBezTo>
                  <a:pt x="515128" y="491286"/>
                  <a:pt x="399607" y="606722"/>
                  <a:pt x="257564" y="606722"/>
                </a:cubicBezTo>
                <a:cubicBezTo>
                  <a:pt x="115521" y="606722"/>
                  <a:pt x="0" y="491286"/>
                  <a:pt x="0" y="349546"/>
                </a:cubicBezTo>
                <a:cubicBezTo>
                  <a:pt x="0" y="207717"/>
                  <a:pt x="115521" y="92370"/>
                  <a:pt x="257564" y="92370"/>
                </a:cubicBezTo>
                <a:close/>
                <a:moveTo>
                  <a:pt x="350027" y="0"/>
                </a:moveTo>
                <a:cubicBezTo>
                  <a:pt x="492007" y="0"/>
                  <a:pt x="607639" y="115367"/>
                  <a:pt x="607639" y="257220"/>
                </a:cubicBezTo>
                <a:cubicBezTo>
                  <a:pt x="607639" y="268152"/>
                  <a:pt x="598737" y="277040"/>
                  <a:pt x="587788" y="277040"/>
                </a:cubicBezTo>
                <a:lnTo>
                  <a:pt x="350027" y="277040"/>
                </a:lnTo>
                <a:cubicBezTo>
                  <a:pt x="339078" y="277040"/>
                  <a:pt x="330176" y="268152"/>
                  <a:pt x="330176" y="257220"/>
                </a:cubicBezTo>
                <a:lnTo>
                  <a:pt x="330176" y="19820"/>
                </a:lnTo>
                <a:cubicBezTo>
                  <a:pt x="330176" y="8888"/>
                  <a:pt x="339078" y="0"/>
                  <a:pt x="350027" y="0"/>
                </a:cubicBezTo>
                <a:close/>
              </a:path>
            </a:pathLst>
          </a:custGeom>
          <a:solidFill>
            <a:schemeClr val="bg1"/>
          </a:solidFill>
          <a:ln>
            <a:noFill/>
          </a:ln>
        </p:spPr>
        <p:txBody>
          <a:bodyPr vert="horz" wrap="square" lIns="91440" tIns="45720" rIns="91440" bIns="45720" numCol="1" anchor="t" anchorCtr="0" compatLnSpc="1">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8" name="ïslíḓé"/>
          <p:cNvSpPr/>
          <p:nvPr/>
        </p:nvSpPr>
        <p:spPr bwMode="auto">
          <a:xfrm>
            <a:off x="1865990" y="2042213"/>
            <a:ext cx="343455" cy="339662"/>
          </a:xfrm>
          <a:custGeom>
            <a:avLst/>
            <a:gdLst>
              <a:gd name="connsiteX0" fmla="*/ 466437 w 600511"/>
              <a:gd name="connsiteY0" fmla="*/ 421770 h 593879"/>
              <a:gd name="connsiteX1" fmla="*/ 504684 w 600511"/>
              <a:gd name="connsiteY1" fmla="*/ 459981 h 593879"/>
              <a:gd name="connsiteX2" fmla="*/ 466437 w 600511"/>
              <a:gd name="connsiteY2" fmla="*/ 498192 h 593879"/>
              <a:gd name="connsiteX3" fmla="*/ 428190 w 600511"/>
              <a:gd name="connsiteY3" fmla="*/ 459981 h 593879"/>
              <a:gd name="connsiteX4" fmla="*/ 466437 w 600511"/>
              <a:gd name="connsiteY4" fmla="*/ 421770 h 593879"/>
              <a:gd name="connsiteX5" fmla="*/ 453390 w 600511"/>
              <a:gd name="connsiteY5" fmla="*/ 375066 h 593879"/>
              <a:gd name="connsiteX6" fmla="*/ 421127 w 600511"/>
              <a:gd name="connsiteY6" fmla="*/ 386990 h 593879"/>
              <a:gd name="connsiteX7" fmla="*/ 418868 w 600511"/>
              <a:gd name="connsiteY7" fmla="*/ 392146 h 593879"/>
              <a:gd name="connsiteX8" fmla="*/ 424031 w 600511"/>
              <a:gd name="connsiteY8" fmla="*/ 406325 h 593879"/>
              <a:gd name="connsiteX9" fmla="*/ 423385 w 600511"/>
              <a:gd name="connsiteY9" fmla="*/ 411481 h 593879"/>
              <a:gd name="connsiteX10" fmla="*/ 416287 w 600511"/>
              <a:gd name="connsiteY10" fmla="*/ 413737 h 593879"/>
              <a:gd name="connsiteX11" fmla="*/ 402414 w 600511"/>
              <a:gd name="connsiteY11" fmla="*/ 407292 h 593879"/>
              <a:gd name="connsiteX12" fmla="*/ 397252 w 600511"/>
              <a:gd name="connsiteY12" fmla="*/ 409226 h 593879"/>
              <a:gd name="connsiteX13" fmla="*/ 383056 w 600511"/>
              <a:gd name="connsiteY13" fmla="*/ 440485 h 593879"/>
              <a:gd name="connsiteX14" fmla="*/ 384669 w 600511"/>
              <a:gd name="connsiteY14" fmla="*/ 445318 h 593879"/>
              <a:gd name="connsiteX15" fmla="*/ 398542 w 600511"/>
              <a:gd name="connsiteY15" fmla="*/ 451764 h 593879"/>
              <a:gd name="connsiteX16" fmla="*/ 401769 w 600511"/>
              <a:gd name="connsiteY16" fmla="*/ 455953 h 593879"/>
              <a:gd name="connsiteX17" fmla="*/ 398220 w 600511"/>
              <a:gd name="connsiteY17" fmla="*/ 462720 h 593879"/>
              <a:gd name="connsiteX18" fmla="*/ 384024 w 600511"/>
              <a:gd name="connsiteY18" fmla="*/ 467876 h 593879"/>
              <a:gd name="connsiteX19" fmla="*/ 381766 w 600511"/>
              <a:gd name="connsiteY19" fmla="*/ 472710 h 593879"/>
              <a:gd name="connsiteX20" fmla="*/ 393380 w 600511"/>
              <a:gd name="connsiteY20" fmla="*/ 504936 h 593879"/>
              <a:gd name="connsiteX21" fmla="*/ 398542 w 600511"/>
              <a:gd name="connsiteY21" fmla="*/ 507192 h 593879"/>
              <a:gd name="connsiteX22" fmla="*/ 412738 w 600511"/>
              <a:gd name="connsiteY22" fmla="*/ 502036 h 593879"/>
              <a:gd name="connsiteX23" fmla="*/ 417900 w 600511"/>
              <a:gd name="connsiteY23" fmla="*/ 502680 h 593879"/>
              <a:gd name="connsiteX24" fmla="*/ 420159 w 600511"/>
              <a:gd name="connsiteY24" fmla="*/ 510092 h 593879"/>
              <a:gd name="connsiteX25" fmla="*/ 413706 w 600511"/>
              <a:gd name="connsiteY25" fmla="*/ 523949 h 593879"/>
              <a:gd name="connsiteX26" fmla="*/ 415642 w 600511"/>
              <a:gd name="connsiteY26" fmla="*/ 528783 h 593879"/>
              <a:gd name="connsiteX27" fmla="*/ 446937 w 600511"/>
              <a:gd name="connsiteY27" fmla="*/ 543285 h 593879"/>
              <a:gd name="connsiteX28" fmla="*/ 451777 w 600511"/>
              <a:gd name="connsiteY28" fmla="*/ 541351 h 593879"/>
              <a:gd name="connsiteX29" fmla="*/ 458230 w 600511"/>
              <a:gd name="connsiteY29" fmla="*/ 527494 h 593879"/>
              <a:gd name="connsiteX30" fmla="*/ 462424 w 600511"/>
              <a:gd name="connsiteY30" fmla="*/ 524272 h 593879"/>
              <a:gd name="connsiteX31" fmla="*/ 469199 w 600511"/>
              <a:gd name="connsiteY31" fmla="*/ 528139 h 593879"/>
              <a:gd name="connsiteX32" fmla="*/ 474361 w 600511"/>
              <a:gd name="connsiteY32" fmla="*/ 542318 h 593879"/>
              <a:gd name="connsiteX33" fmla="*/ 479201 w 600511"/>
              <a:gd name="connsiteY33" fmla="*/ 544574 h 593879"/>
              <a:gd name="connsiteX34" fmla="*/ 511464 w 600511"/>
              <a:gd name="connsiteY34" fmla="*/ 532650 h 593879"/>
              <a:gd name="connsiteX35" fmla="*/ 513723 w 600511"/>
              <a:gd name="connsiteY35" fmla="*/ 527816 h 593879"/>
              <a:gd name="connsiteX36" fmla="*/ 508560 w 600511"/>
              <a:gd name="connsiteY36" fmla="*/ 513315 h 593879"/>
              <a:gd name="connsiteX37" fmla="*/ 509206 w 600511"/>
              <a:gd name="connsiteY37" fmla="*/ 508159 h 593879"/>
              <a:gd name="connsiteX38" fmla="*/ 516626 w 600511"/>
              <a:gd name="connsiteY38" fmla="*/ 506225 h 593879"/>
              <a:gd name="connsiteX39" fmla="*/ 530500 w 600511"/>
              <a:gd name="connsiteY39" fmla="*/ 512348 h 593879"/>
              <a:gd name="connsiteX40" fmla="*/ 535339 w 600511"/>
              <a:gd name="connsiteY40" fmla="*/ 510737 h 593879"/>
              <a:gd name="connsiteX41" fmla="*/ 549858 w 600511"/>
              <a:gd name="connsiteY41" fmla="*/ 479478 h 593879"/>
              <a:gd name="connsiteX42" fmla="*/ 547922 w 600511"/>
              <a:gd name="connsiteY42" fmla="*/ 474322 h 593879"/>
              <a:gd name="connsiteX43" fmla="*/ 534049 w 600511"/>
              <a:gd name="connsiteY43" fmla="*/ 467876 h 593879"/>
              <a:gd name="connsiteX44" fmla="*/ 531145 w 600511"/>
              <a:gd name="connsiteY44" fmla="*/ 461109 h 593879"/>
              <a:gd name="connsiteX45" fmla="*/ 534694 w 600511"/>
              <a:gd name="connsiteY45" fmla="*/ 457242 h 593879"/>
              <a:gd name="connsiteX46" fmla="*/ 548890 w 600511"/>
              <a:gd name="connsiteY46" fmla="*/ 451764 h 593879"/>
              <a:gd name="connsiteX47" fmla="*/ 551148 w 600511"/>
              <a:gd name="connsiteY47" fmla="*/ 446930 h 593879"/>
              <a:gd name="connsiteX48" fmla="*/ 539211 w 600511"/>
              <a:gd name="connsiteY48" fmla="*/ 414704 h 593879"/>
              <a:gd name="connsiteX49" fmla="*/ 534371 w 600511"/>
              <a:gd name="connsiteY49" fmla="*/ 412448 h 593879"/>
              <a:gd name="connsiteX50" fmla="*/ 520175 w 600511"/>
              <a:gd name="connsiteY50" fmla="*/ 417604 h 593879"/>
              <a:gd name="connsiteX51" fmla="*/ 514691 w 600511"/>
              <a:gd name="connsiteY51" fmla="*/ 416960 h 593879"/>
              <a:gd name="connsiteX52" fmla="*/ 512755 w 600511"/>
              <a:gd name="connsiteY52" fmla="*/ 409548 h 593879"/>
              <a:gd name="connsiteX53" fmla="*/ 518885 w 600511"/>
              <a:gd name="connsiteY53" fmla="*/ 396013 h 593879"/>
              <a:gd name="connsiteX54" fmla="*/ 516949 w 600511"/>
              <a:gd name="connsiteY54" fmla="*/ 390857 h 593879"/>
              <a:gd name="connsiteX55" fmla="*/ 485976 w 600511"/>
              <a:gd name="connsiteY55" fmla="*/ 376355 h 593879"/>
              <a:gd name="connsiteX56" fmla="*/ 480814 w 600511"/>
              <a:gd name="connsiteY56" fmla="*/ 378289 h 593879"/>
              <a:gd name="connsiteX57" fmla="*/ 474361 w 600511"/>
              <a:gd name="connsiteY57" fmla="*/ 392146 h 593879"/>
              <a:gd name="connsiteX58" fmla="*/ 470167 w 600511"/>
              <a:gd name="connsiteY58" fmla="*/ 395368 h 593879"/>
              <a:gd name="connsiteX59" fmla="*/ 463714 w 600511"/>
              <a:gd name="connsiteY59" fmla="*/ 391824 h 593879"/>
              <a:gd name="connsiteX60" fmla="*/ 458230 w 600511"/>
              <a:gd name="connsiteY60" fmla="*/ 377322 h 593879"/>
              <a:gd name="connsiteX61" fmla="*/ 453390 w 600511"/>
              <a:gd name="connsiteY61" fmla="*/ 375066 h 593879"/>
              <a:gd name="connsiteX62" fmla="*/ 0 w 600511"/>
              <a:gd name="connsiteY62" fmla="*/ 372515 h 593879"/>
              <a:gd name="connsiteX63" fmla="*/ 233292 w 600511"/>
              <a:gd name="connsiteY63" fmla="*/ 465626 h 593879"/>
              <a:gd name="connsiteX64" fmla="*/ 305248 w 600511"/>
              <a:gd name="connsiteY64" fmla="*/ 461116 h 593879"/>
              <a:gd name="connsiteX65" fmla="*/ 332998 w 600511"/>
              <a:gd name="connsiteY65" fmla="*/ 549716 h 593879"/>
              <a:gd name="connsiteX66" fmla="*/ 233292 w 600511"/>
              <a:gd name="connsiteY66" fmla="*/ 558737 h 593879"/>
              <a:gd name="connsiteX67" fmla="*/ 0 w 600511"/>
              <a:gd name="connsiteY67" fmla="*/ 465626 h 593879"/>
              <a:gd name="connsiteX68" fmla="*/ 466295 w 600511"/>
              <a:gd name="connsiteY68" fmla="*/ 326083 h 593879"/>
              <a:gd name="connsiteX69" fmla="*/ 600511 w 600511"/>
              <a:gd name="connsiteY69" fmla="*/ 459820 h 593879"/>
              <a:gd name="connsiteX70" fmla="*/ 466295 w 600511"/>
              <a:gd name="connsiteY70" fmla="*/ 593879 h 593879"/>
              <a:gd name="connsiteX71" fmla="*/ 332080 w 600511"/>
              <a:gd name="connsiteY71" fmla="*/ 459820 h 593879"/>
              <a:gd name="connsiteX72" fmla="*/ 466295 w 600511"/>
              <a:gd name="connsiteY72" fmla="*/ 326083 h 593879"/>
              <a:gd name="connsiteX73" fmla="*/ 0 w 600511"/>
              <a:gd name="connsiteY73" fmla="*/ 232654 h 593879"/>
              <a:gd name="connsiteX74" fmla="*/ 233309 w 600511"/>
              <a:gd name="connsiteY74" fmla="*/ 326103 h 593879"/>
              <a:gd name="connsiteX75" fmla="*/ 466296 w 600511"/>
              <a:gd name="connsiteY75" fmla="*/ 232654 h 593879"/>
              <a:gd name="connsiteX76" fmla="*/ 466296 w 600511"/>
              <a:gd name="connsiteY76" fmla="*/ 299035 h 593879"/>
              <a:gd name="connsiteX77" fmla="*/ 312370 w 600511"/>
              <a:gd name="connsiteY77" fmla="*/ 413429 h 593879"/>
              <a:gd name="connsiteX78" fmla="*/ 233309 w 600511"/>
              <a:gd name="connsiteY78" fmla="*/ 419229 h 593879"/>
              <a:gd name="connsiteX79" fmla="*/ 0 w 600511"/>
              <a:gd name="connsiteY79" fmla="*/ 326103 h 593879"/>
              <a:gd name="connsiteX80" fmla="*/ 233309 w 600511"/>
              <a:gd name="connsiteY80" fmla="*/ 23200 h 593879"/>
              <a:gd name="connsiteX81" fmla="*/ 23234 w 600511"/>
              <a:gd name="connsiteY81" fmla="*/ 93123 h 593879"/>
              <a:gd name="connsiteX82" fmla="*/ 233309 w 600511"/>
              <a:gd name="connsiteY82" fmla="*/ 163046 h 593879"/>
              <a:gd name="connsiteX83" fmla="*/ 443062 w 600511"/>
              <a:gd name="connsiteY83" fmla="*/ 93123 h 593879"/>
              <a:gd name="connsiteX84" fmla="*/ 233309 w 600511"/>
              <a:gd name="connsiteY84" fmla="*/ 23200 h 593879"/>
              <a:gd name="connsiteX85" fmla="*/ 233309 w 600511"/>
              <a:gd name="connsiteY85" fmla="*/ 0 h 593879"/>
              <a:gd name="connsiteX86" fmla="*/ 466296 w 600511"/>
              <a:gd name="connsiteY86" fmla="*/ 93123 h 593879"/>
              <a:gd name="connsiteX87" fmla="*/ 466296 w 600511"/>
              <a:gd name="connsiteY87" fmla="*/ 186246 h 593879"/>
              <a:gd name="connsiteX88" fmla="*/ 233309 w 600511"/>
              <a:gd name="connsiteY88" fmla="*/ 279369 h 593879"/>
              <a:gd name="connsiteX89" fmla="*/ 0 w 600511"/>
              <a:gd name="connsiteY89" fmla="*/ 186246 h 593879"/>
              <a:gd name="connsiteX90" fmla="*/ 0 w 600511"/>
              <a:gd name="connsiteY90" fmla="*/ 93123 h 593879"/>
              <a:gd name="connsiteX91" fmla="*/ 233309 w 600511"/>
              <a:gd name="connsiteY91" fmla="*/ 0 h 593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0511" h="593879">
                <a:moveTo>
                  <a:pt x="466437" y="421770"/>
                </a:moveTo>
                <a:cubicBezTo>
                  <a:pt x="487560" y="421770"/>
                  <a:pt x="504684" y="438878"/>
                  <a:pt x="504684" y="459981"/>
                </a:cubicBezTo>
                <a:cubicBezTo>
                  <a:pt x="504684" y="481084"/>
                  <a:pt x="487560" y="498192"/>
                  <a:pt x="466437" y="498192"/>
                </a:cubicBezTo>
                <a:cubicBezTo>
                  <a:pt x="445314" y="498192"/>
                  <a:pt x="428190" y="481084"/>
                  <a:pt x="428190" y="459981"/>
                </a:cubicBezTo>
                <a:cubicBezTo>
                  <a:pt x="428190" y="438878"/>
                  <a:pt x="445314" y="421770"/>
                  <a:pt x="466437" y="421770"/>
                </a:cubicBezTo>
                <a:close/>
                <a:moveTo>
                  <a:pt x="453390" y="375066"/>
                </a:moveTo>
                <a:lnTo>
                  <a:pt x="421127" y="386990"/>
                </a:lnTo>
                <a:cubicBezTo>
                  <a:pt x="419191" y="387957"/>
                  <a:pt x="418223" y="389890"/>
                  <a:pt x="418868" y="392146"/>
                </a:cubicBezTo>
                <a:lnTo>
                  <a:pt x="424031" y="406325"/>
                </a:lnTo>
                <a:cubicBezTo>
                  <a:pt x="424998" y="408259"/>
                  <a:pt x="424676" y="410515"/>
                  <a:pt x="423385" y="411481"/>
                </a:cubicBezTo>
                <a:cubicBezTo>
                  <a:pt x="422417" y="412448"/>
                  <a:pt x="418223" y="414382"/>
                  <a:pt x="416287" y="413737"/>
                </a:cubicBezTo>
                <a:lnTo>
                  <a:pt x="402414" y="407292"/>
                </a:lnTo>
                <a:cubicBezTo>
                  <a:pt x="400478" y="406325"/>
                  <a:pt x="398220" y="407292"/>
                  <a:pt x="397252" y="409226"/>
                </a:cubicBezTo>
                <a:lnTo>
                  <a:pt x="383056" y="440485"/>
                </a:lnTo>
                <a:cubicBezTo>
                  <a:pt x="382088" y="442096"/>
                  <a:pt x="383056" y="444674"/>
                  <a:pt x="384669" y="445318"/>
                </a:cubicBezTo>
                <a:lnTo>
                  <a:pt x="398542" y="451764"/>
                </a:lnTo>
                <a:cubicBezTo>
                  <a:pt x="400478" y="452730"/>
                  <a:pt x="402091" y="454664"/>
                  <a:pt x="401769" y="455953"/>
                </a:cubicBezTo>
                <a:cubicBezTo>
                  <a:pt x="401769" y="457564"/>
                  <a:pt x="400156" y="462076"/>
                  <a:pt x="398220" y="462720"/>
                </a:cubicBezTo>
                <a:lnTo>
                  <a:pt x="384024" y="467876"/>
                </a:lnTo>
                <a:cubicBezTo>
                  <a:pt x="382088" y="468521"/>
                  <a:pt x="381120" y="470777"/>
                  <a:pt x="381766" y="472710"/>
                </a:cubicBezTo>
                <a:lnTo>
                  <a:pt x="393380" y="504936"/>
                </a:lnTo>
                <a:cubicBezTo>
                  <a:pt x="394348" y="506870"/>
                  <a:pt x="396607" y="507836"/>
                  <a:pt x="398542" y="507192"/>
                </a:cubicBezTo>
                <a:lnTo>
                  <a:pt x="412738" y="502036"/>
                </a:lnTo>
                <a:cubicBezTo>
                  <a:pt x="414674" y="501391"/>
                  <a:pt x="417255" y="501713"/>
                  <a:pt x="417900" y="502680"/>
                </a:cubicBezTo>
                <a:cubicBezTo>
                  <a:pt x="418868" y="503969"/>
                  <a:pt x="421127" y="508159"/>
                  <a:pt x="420159" y="510092"/>
                </a:cubicBezTo>
                <a:lnTo>
                  <a:pt x="413706" y="523949"/>
                </a:lnTo>
                <a:cubicBezTo>
                  <a:pt x="412738" y="525561"/>
                  <a:pt x="413706" y="527816"/>
                  <a:pt x="415642" y="528783"/>
                </a:cubicBezTo>
                <a:lnTo>
                  <a:pt x="446937" y="543285"/>
                </a:lnTo>
                <a:cubicBezTo>
                  <a:pt x="448873" y="544251"/>
                  <a:pt x="451132" y="543285"/>
                  <a:pt x="451777" y="541351"/>
                </a:cubicBezTo>
                <a:lnTo>
                  <a:pt x="458230" y="527494"/>
                </a:lnTo>
                <a:cubicBezTo>
                  <a:pt x="459198" y="525561"/>
                  <a:pt x="461133" y="524272"/>
                  <a:pt x="462424" y="524272"/>
                </a:cubicBezTo>
                <a:cubicBezTo>
                  <a:pt x="464037" y="524272"/>
                  <a:pt x="468554" y="525883"/>
                  <a:pt x="469199" y="528139"/>
                </a:cubicBezTo>
                <a:lnTo>
                  <a:pt x="474361" y="542318"/>
                </a:lnTo>
                <a:cubicBezTo>
                  <a:pt x="475007" y="544251"/>
                  <a:pt x="477265" y="545218"/>
                  <a:pt x="479201" y="544574"/>
                </a:cubicBezTo>
                <a:lnTo>
                  <a:pt x="511464" y="532650"/>
                </a:lnTo>
                <a:cubicBezTo>
                  <a:pt x="513400" y="532006"/>
                  <a:pt x="514368" y="529750"/>
                  <a:pt x="513723" y="527816"/>
                </a:cubicBezTo>
                <a:lnTo>
                  <a:pt x="508560" y="513315"/>
                </a:lnTo>
                <a:cubicBezTo>
                  <a:pt x="507915" y="511381"/>
                  <a:pt x="508238" y="509125"/>
                  <a:pt x="509206" y="508159"/>
                </a:cubicBezTo>
                <a:cubicBezTo>
                  <a:pt x="510496" y="507192"/>
                  <a:pt x="514691" y="505258"/>
                  <a:pt x="516626" y="506225"/>
                </a:cubicBezTo>
                <a:lnTo>
                  <a:pt x="530500" y="512348"/>
                </a:lnTo>
                <a:cubicBezTo>
                  <a:pt x="532435" y="513315"/>
                  <a:pt x="534694" y="512348"/>
                  <a:pt x="535339" y="510737"/>
                </a:cubicBezTo>
                <a:lnTo>
                  <a:pt x="549858" y="479478"/>
                </a:lnTo>
                <a:cubicBezTo>
                  <a:pt x="550825" y="477544"/>
                  <a:pt x="549858" y="475288"/>
                  <a:pt x="547922" y="474322"/>
                </a:cubicBezTo>
                <a:lnTo>
                  <a:pt x="534049" y="467876"/>
                </a:lnTo>
                <a:cubicBezTo>
                  <a:pt x="532113" y="467232"/>
                  <a:pt x="531145" y="462398"/>
                  <a:pt x="531145" y="461109"/>
                </a:cubicBezTo>
                <a:cubicBezTo>
                  <a:pt x="531145" y="459498"/>
                  <a:pt x="532435" y="457886"/>
                  <a:pt x="534694" y="457242"/>
                </a:cubicBezTo>
                <a:lnTo>
                  <a:pt x="548890" y="451764"/>
                </a:lnTo>
                <a:cubicBezTo>
                  <a:pt x="550825" y="451119"/>
                  <a:pt x="551793" y="448863"/>
                  <a:pt x="551148" y="446930"/>
                </a:cubicBezTo>
                <a:lnTo>
                  <a:pt x="539211" y="414704"/>
                </a:lnTo>
                <a:cubicBezTo>
                  <a:pt x="538565" y="412770"/>
                  <a:pt x="536307" y="411804"/>
                  <a:pt x="534371" y="412448"/>
                </a:cubicBezTo>
                <a:lnTo>
                  <a:pt x="520175" y="417604"/>
                </a:lnTo>
                <a:cubicBezTo>
                  <a:pt x="517917" y="418571"/>
                  <a:pt x="515658" y="418249"/>
                  <a:pt x="514691" y="416960"/>
                </a:cubicBezTo>
                <a:cubicBezTo>
                  <a:pt x="513723" y="415993"/>
                  <a:pt x="511787" y="411481"/>
                  <a:pt x="512755" y="409548"/>
                </a:cubicBezTo>
                <a:lnTo>
                  <a:pt x="518885" y="396013"/>
                </a:lnTo>
                <a:cubicBezTo>
                  <a:pt x="519853" y="394079"/>
                  <a:pt x="518885" y="391824"/>
                  <a:pt x="516949" y="390857"/>
                </a:cubicBezTo>
                <a:lnTo>
                  <a:pt x="485976" y="376355"/>
                </a:lnTo>
                <a:cubicBezTo>
                  <a:pt x="484040" y="375711"/>
                  <a:pt x="481782" y="376355"/>
                  <a:pt x="480814" y="378289"/>
                </a:cubicBezTo>
                <a:lnTo>
                  <a:pt x="474361" y="392146"/>
                </a:lnTo>
                <a:cubicBezTo>
                  <a:pt x="473716" y="394079"/>
                  <a:pt x="471780" y="395691"/>
                  <a:pt x="470167" y="395368"/>
                </a:cubicBezTo>
                <a:cubicBezTo>
                  <a:pt x="468877" y="395368"/>
                  <a:pt x="464360" y="393757"/>
                  <a:pt x="463714" y="391824"/>
                </a:cubicBezTo>
                <a:lnTo>
                  <a:pt x="458230" y="377322"/>
                </a:lnTo>
                <a:cubicBezTo>
                  <a:pt x="457584" y="375389"/>
                  <a:pt x="455326" y="374422"/>
                  <a:pt x="453390" y="375066"/>
                </a:cubicBezTo>
                <a:close/>
                <a:moveTo>
                  <a:pt x="0" y="372515"/>
                </a:moveTo>
                <a:cubicBezTo>
                  <a:pt x="0" y="424064"/>
                  <a:pt x="104223" y="465626"/>
                  <a:pt x="233292" y="465626"/>
                </a:cubicBezTo>
                <a:cubicBezTo>
                  <a:pt x="258461" y="465626"/>
                  <a:pt x="282661" y="464015"/>
                  <a:pt x="305248" y="461116"/>
                </a:cubicBezTo>
                <a:cubicBezTo>
                  <a:pt x="305571" y="493978"/>
                  <a:pt x="315574" y="524264"/>
                  <a:pt x="332998" y="549716"/>
                </a:cubicBezTo>
                <a:cubicBezTo>
                  <a:pt x="302667" y="555515"/>
                  <a:pt x="268786" y="558737"/>
                  <a:pt x="233292" y="558737"/>
                </a:cubicBezTo>
                <a:cubicBezTo>
                  <a:pt x="104546" y="558737"/>
                  <a:pt x="0" y="517175"/>
                  <a:pt x="0" y="465626"/>
                </a:cubicBezTo>
                <a:close/>
                <a:moveTo>
                  <a:pt x="466295" y="326083"/>
                </a:moveTo>
                <a:cubicBezTo>
                  <a:pt x="540501" y="326083"/>
                  <a:pt x="600511" y="386023"/>
                  <a:pt x="600511" y="459820"/>
                </a:cubicBezTo>
                <a:cubicBezTo>
                  <a:pt x="600511" y="533939"/>
                  <a:pt x="540501" y="593879"/>
                  <a:pt x="466295" y="593879"/>
                </a:cubicBezTo>
                <a:cubicBezTo>
                  <a:pt x="392412" y="593879"/>
                  <a:pt x="332080" y="533939"/>
                  <a:pt x="332080" y="459820"/>
                </a:cubicBezTo>
                <a:cubicBezTo>
                  <a:pt x="332080" y="386023"/>
                  <a:pt x="392412" y="326083"/>
                  <a:pt x="466295" y="326083"/>
                </a:cubicBezTo>
                <a:close/>
                <a:moveTo>
                  <a:pt x="0" y="232654"/>
                </a:moveTo>
                <a:cubicBezTo>
                  <a:pt x="0" y="284212"/>
                  <a:pt x="104554" y="326103"/>
                  <a:pt x="233309" y="326103"/>
                </a:cubicBezTo>
                <a:cubicBezTo>
                  <a:pt x="362065" y="326103"/>
                  <a:pt x="466296" y="284212"/>
                  <a:pt x="466296" y="232654"/>
                </a:cubicBezTo>
                <a:lnTo>
                  <a:pt x="466296" y="299035"/>
                </a:lnTo>
                <a:cubicBezTo>
                  <a:pt x="393689" y="299035"/>
                  <a:pt x="332377" y="347370"/>
                  <a:pt x="312370" y="413429"/>
                </a:cubicBezTo>
                <a:cubicBezTo>
                  <a:pt x="287522" y="416973"/>
                  <a:pt x="261061" y="419229"/>
                  <a:pt x="233309" y="419229"/>
                </a:cubicBezTo>
                <a:cubicBezTo>
                  <a:pt x="104231" y="419229"/>
                  <a:pt x="0" y="377338"/>
                  <a:pt x="0" y="326103"/>
                </a:cubicBezTo>
                <a:close/>
                <a:moveTo>
                  <a:pt x="233309" y="23200"/>
                </a:moveTo>
                <a:cubicBezTo>
                  <a:pt x="105199" y="23200"/>
                  <a:pt x="23234" y="64445"/>
                  <a:pt x="23234" y="93123"/>
                </a:cubicBezTo>
                <a:cubicBezTo>
                  <a:pt x="23234" y="121479"/>
                  <a:pt x="105199" y="163046"/>
                  <a:pt x="233309" y="163046"/>
                </a:cubicBezTo>
                <a:cubicBezTo>
                  <a:pt x="361420" y="163046"/>
                  <a:pt x="443062" y="121479"/>
                  <a:pt x="443062" y="93123"/>
                </a:cubicBezTo>
                <a:cubicBezTo>
                  <a:pt x="443062" y="64445"/>
                  <a:pt x="361420" y="23200"/>
                  <a:pt x="233309" y="23200"/>
                </a:cubicBezTo>
                <a:close/>
                <a:moveTo>
                  <a:pt x="233309" y="0"/>
                </a:moveTo>
                <a:cubicBezTo>
                  <a:pt x="362065" y="0"/>
                  <a:pt x="466296" y="41567"/>
                  <a:pt x="466296" y="93123"/>
                </a:cubicBezTo>
                <a:lnTo>
                  <a:pt x="466296" y="186246"/>
                </a:lnTo>
                <a:cubicBezTo>
                  <a:pt x="466296" y="237802"/>
                  <a:pt x="362065" y="279369"/>
                  <a:pt x="233309" y="279369"/>
                </a:cubicBezTo>
                <a:cubicBezTo>
                  <a:pt x="104231" y="279369"/>
                  <a:pt x="0" y="237802"/>
                  <a:pt x="0" y="186246"/>
                </a:cubicBezTo>
                <a:lnTo>
                  <a:pt x="0" y="93123"/>
                </a:lnTo>
                <a:cubicBezTo>
                  <a:pt x="0" y="41567"/>
                  <a:pt x="104554" y="0"/>
                  <a:pt x="233309" y="0"/>
                </a:cubicBezTo>
                <a:close/>
              </a:path>
            </a:pathLst>
          </a:custGeom>
          <a:solidFill>
            <a:schemeClr val="bg1"/>
          </a:solidFill>
          <a:ln>
            <a:noFill/>
          </a:ln>
        </p:spPr>
        <p:txBody>
          <a:bodyPr vert="horz" wrap="square" lIns="91440" tIns="45720" rIns="91440" bIns="45720" numCol="1" anchor="t" anchorCtr="0" compatLnSpc="1">
            <a:normAutofit fontScale="97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51" name="ïṣľîḋê"/>
          <p:cNvSpPr/>
          <p:nvPr/>
        </p:nvSpPr>
        <p:spPr>
          <a:xfrm>
            <a:off x="2534285" y="1637665"/>
            <a:ext cx="8857615" cy="1271905"/>
          </a:xfrm>
          <a:prstGeom prst="rect">
            <a:avLst/>
          </a:prstGeom>
        </p:spPr>
        <p:txBody>
          <a:bodyPr wrap="square" lIns="91440" tIns="45720" rIns="91440" bIns="45720" anchor="ctr" anchorCtr="0">
            <a:normAutofit fontScale="87500"/>
          </a:bodyPr>
          <a:lstStyle/>
          <a:p>
            <a:pPr>
              <a:lnSpc>
                <a:spcPct val="150000"/>
              </a:lnSpc>
            </a:pPr>
            <a:r>
              <a:rPr lang="en-US" altLang="zh-CN" sz="2400" dirty="0">
                <a:solidFill>
                  <a:srgbClr val="0000FF"/>
                </a:solidFill>
              </a:rPr>
              <a:t>Key</a:t>
            </a:r>
            <a:r>
              <a:rPr lang="zh-CN" altLang="en-US" sz="2400" dirty="0">
                <a:solidFill>
                  <a:srgbClr val="0000FF"/>
                </a:solidFill>
              </a:rPr>
              <a:t>不要太长</a:t>
            </a:r>
            <a:endParaRPr lang="en-US" altLang="zh-CN" sz="2400" dirty="0">
              <a:solidFill>
                <a:srgbClr val="0000FF"/>
              </a:solidFill>
            </a:endParaRPr>
          </a:p>
          <a:p>
            <a:pPr marL="342900" indent="-342900">
              <a:lnSpc>
                <a:spcPct val="150000"/>
              </a:lnSpc>
              <a:buClr>
                <a:schemeClr val="tx1"/>
              </a:buClr>
              <a:buFont typeface="Wingdings" panose="05000000000000000000" pitchFamily="2" charset="2"/>
              <a:buChar char="Ø"/>
            </a:pPr>
            <a:r>
              <a:rPr lang="zh-CN" altLang="en-US" sz="2300" dirty="0"/>
              <a:t>尽量不要超过</a:t>
            </a:r>
            <a:r>
              <a:rPr lang="en-US" altLang="zh-CN" sz="2300" dirty="0"/>
              <a:t>1024Byte</a:t>
            </a:r>
            <a:r>
              <a:rPr lang="zh-CN" altLang="en-US" sz="2300" dirty="0"/>
              <a:t>，太长的话不仅消耗内存，而且会降低查找的效率。</a:t>
            </a:r>
          </a:p>
        </p:txBody>
      </p:sp>
      <p:sp>
        <p:nvSpPr>
          <p:cNvPr id="53" name="îṧľïdè"/>
          <p:cNvSpPr/>
          <p:nvPr/>
        </p:nvSpPr>
        <p:spPr>
          <a:xfrm>
            <a:off x="3108135" y="3136709"/>
            <a:ext cx="6512240" cy="1066230"/>
          </a:xfrm>
          <a:prstGeom prst="rect">
            <a:avLst/>
          </a:prstGeom>
        </p:spPr>
        <p:txBody>
          <a:bodyPr wrap="square" lIns="91440" tIns="45720" rIns="91440" bIns="45720" anchor="ctr" anchorCtr="0">
            <a:normAutofit/>
          </a:bodyPr>
          <a:lstStyle/>
          <a:p>
            <a:pPr>
              <a:lnSpc>
                <a:spcPct val="132000"/>
              </a:lnSpc>
            </a:pPr>
            <a:r>
              <a:rPr lang="en-US" altLang="zh-CN" sz="2400" dirty="0">
                <a:solidFill>
                  <a:srgbClr val="0000FF"/>
                </a:solidFill>
              </a:rPr>
              <a:t>Key</a:t>
            </a:r>
            <a:r>
              <a:rPr lang="zh-CN" altLang="en-US" sz="2400" dirty="0">
                <a:solidFill>
                  <a:srgbClr val="0000FF"/>
                </a:solidFill>
              </a:rPr>
              <a:t>不要太短</a:t>
            </a:r>
            <a:endParaRPr lang="en-US" altLang="zh-CN" sz="2400" dirty="0">
              <a:solidFill>
                <a:srgbClr val="0000FF"/>
              </a:solidFill>
            </a:endParaRPr>
          </a:p>
          <a:p>
            <a:pPr marL="342900" indent="-342900">
              <a:lnSpc>
                <a:spcPct val="132000"/>
              </a:lnSpc>
              <a:buFont typeface="Wingdings" panose="05000000000000000000" pitchFamily="2" charset="2"/>
              <a:buChar char="Ø"/>
            </a:pPr>
            <a:r>
              <a:rPr lang="zh-CN" altLang="en-US" dirty="0"/>
              <a:t>太短的话可读性会降低。</a:t>
            </a:r>
          </a:p>
        </p:txBody>
      </p:sp>
      <p:sp>
        <p:nvSpPr>
          <p:cNvPr id="55" name="ïśļíde"/>
          <p:cNvSpPr/>
          <p:nvPr/>
        </p:nvSpPr>
        <p:spPr>
          <a:xfrm>
            <a:off x="2615176" y="4672403"/>
            <a:ext cx="7498158" cy="883466"/>
          </a:xfrm>
          <a:prstGeom prst="rect">
            <a:avLst/>
          </a:prstGeom>
        </p:spPr>
        <p:txBody>
          <a:bodyPr wrap="square" lIns="91440" tIns="45720" rIns="91440" bIns="45720" anchor="ctr" anchorCtr="0">
            <a:normAutofit lnSpcReduction="10000"/>
          </a:bodyPr>
          <a:lstStyle/>
          <a:p>
            <a:r>
              <a:rPr lang="zh-CN" altLang="en-US" sz="2400" dirty="0">
                <a:solidFill>
                  <a:srgbClr val="0000FF"/>
                </a:solidFill>
              </a:rPr>
              <a:t>一个项目中，</a:t>
            </a:r>
            <a:r>
              <a:rPr lang="en-US" altLang="zh-CN" sz="2400" dirty="0">
                <a:solidFill>
                  <a:srgbClr val="0000FF"/>
                </a:solidFill>
              </a:rPr>
              <a:t>key</a:t>
            </a:r>
            <a:r>
              <a:rPr lang="zh-CN" altLang="en-US" sz="2400" dirty="0">
                <a:solidFill>
                  <a:srgbClr val="0000FF"/>
                </a:solidFill>
              </a:rPr>
              <a:t>单词与单词之间以 </a:t>
            </a:r>
            <a:r>
              <a:rPr lang="en-US" altLang="zh-CN" sz="2400" dirty="0">
                <a:solidFill>
                  <a:srgbClr val="0000FF"/>
                </a:solidFill>
              </a:rPr>
              <a:t>: </a:t>
            </a:r>
            <a:r>
              <a:rPr lang="zh-CN" altLang="en-US" sz="2400" dirty="0">
                <a:solidFill>
                  <a:srgbClr val="0000FF"/>
                </a:solidFill>
              </a:rPr>
              <a:t>分开</a:t>
            </a:r>
            <a:endParaRPr lang="en-US" altLang="zh-CN" sz="2400" dirty="0">
              <a:solidFill>
                <a:srgbClr val="0000FF"/>
              </a:solidFill>
            </a:endParaRPr>
          </a:p>
          <a:p>
            <a:pPr marL="342900" indent="-342900">
              <a:lnSpc>
                <a:spcPct val="132000"/>
              </a:lnSpc>
              <a:buFont typeface="Wingdings" panose="05000000000000000000" pitchFamily="2" charset="2"/>
              <a:buChar char="Ø"/>
            </a:pPr>
            <a:r>
              <a:rPr lang="zh-CN" altLang="en-US" sz="2400" dirty="0"/>
              <a:t>例如</a:t>
            </a:r>
            <a:r>
              <a:rPr lang="en-US" altLang="zh-CN" sz="2400" dirty="0"/>
              <a:t>SET user-name:loginnamewangewu</a:t>
            </a:r>
            <a:r>
              <a:rPr lang="zh-CN" altLang="en-US" sz="2400" dirty="0"/>
              <a:t>。</a:t>
            </a:r>
          </a:p>
        </p:txBody>
      </p:sp>
      <p:sp>
        <p:nvSpPr>
          <p:cNvPr id="2" name="内容占位符 2"/>
          <p:cNvSpPr txBox="1"/>
          <p:nvPr/>
        </p:nvSpPr>
        <p:spPr>
          <a:xfrm>
            <a:off x="669925" y="1114425"/>
            <a:ext cx="9795510" cy="52324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9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a:lstStyle>
          <a:p>
            <a:pPr marL="0" lvl="1" indent="-533400">
              <a:lnSpc>
                <a:spcPct val="132000"/>
              </a:lnSpc>
              <a:spcBef>
                <a:spcPts val="370"/>
              </a:spcBef>
              <a:buClr>
                <a:srgbClr val="E71101"/>
              </a:buClr>
              <a:buSzPct val="100000"/>
              <a:buFont typeface="Wingdings" panose="05000000000000000000" pitchFamily="2" charset="2"/>
              <a:buChar char="n"/>
              <a:defRPr/>
            </a:pPr>
            <a:r>
              <a:rPr lang="en-US" altLang="zh-CN" sz="2400" dirty="0">
                <a:sym typeface="+mn-ea"/>
              </a:rPr>
              <a:t>Redis</a:t>
            </a:r>
            <a:r>
              <a:rPr lang="zh-CN" altLang="en-US" sz="2400" dirty="0">
                <a:sym typeface="+mn-ea"/>
              </a:rPr>
              <a:t>的数据存储结构是</a:t>
            </a:r>
            <a:r>
              <a:rPr lang="en-US" altLang="zh-CN" sz="2400" dirty="0">
                <a:sym typeface="+mn-ea"/>
              </a:rPr>
              <a:t>key-value</a:t>
            </a:r>
            <a:r>
              <a:rPr lang="zh-CN" altLang="en-US" sz="2400" dirty="0">
                <a:sym typeface="+mn-ea"/>
              </a:rPr>
              <a:t>对，定义</a:t>
            </a:r>
            <a:r>
              <a:rPr lang="en-US" altLang="zh-CN" sz="2400" dirty="0">
                <a:sym typeface="+mn-ea"/>
              </a:rPr>
              <a:t>key</a:t>
            </a:r>
            <a:r>
              <a:rPr lang="zh-CN" altLang="en-US" sz="2400" dirty="0">
                <a:sym typeface="+mn-ea"/>
              </a:rPr>
              <a:t>时要注意以下三点</a:t>
            </a:r>
            <a:endParaRPr lang="zh-CN" altLang="en-US" sz="2400" dirty="0"/>
          </a:p>
          <a:p>
            <a:pPr marL="342265" lvl="1" indent="-533400">
              <a:lnSpc>
                <a:spcPct val="132000"/>
              </a:lnSpc>
              <a:spcBef>
                <a:spcPts val="370"/>
              </a:spcBef>
              <a:buClr>
                <a:srgbClr val="E71101"/>
              </a:buClr>
              <a:buSzPct val="100000"/>
              <a:buFont typeface="Wingdings" panose="05000000000000000000" pitchFamily="2" charset="2"/>
              <a:buChar char="n"/>
              <a:defRPr/>
            </a:pPr>
            <a:endParaRPr lang="en-US" altLang="zh-CN" sz="2200"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23" name="矩形 22"/>
          <p:cNvSpPr/>
          <p:nvPr/>
        </p:nvSpPr>
        <p:spPr>
          <a:xfrm>
            <a:off x="1696469" y="2375673"/>
            <a:ext cx="3682150" cy="460375"/>
          </a:xfrm>
          <a:prstGeom prst="rect">
            <a:avLst/>
          </a:prstGeom>
        </p:spPr>
        <p:txBody>
          <a:bodyPr wrap="square">
            <a:spAutoFit/>
          </a:bodyPr>
          <a:lstStyle/>
          <a:p>
            <a:r>
              <a:rPr lang="en-US" altLang="zh-CN" sz="2400" dirty="0">
                <a:latin typeface="+mj-ea"/>
              </a:rPr>
              <a:t>2.2 </a:t>
            </a:r>
            <a:r>
              <a:rPr lang="en-US" altLang="zh-CN" sz="2400" dirty="0" err="1" smtClean="0">
                <a:latin typeface="+mj-ea"/>
              </a:rPr>
              <a:t>Hash</a:t>
            </a:r>
            <a:r>
              <a:rPr lang="zh-CN" altLang="en-US" sz="2400" dirty="0" err="1" smtClean="0">
                <a:latin typeface="+mj-ea"/>
              </a:rPr>
              <a:t>类型</a:t>
            </a:r>
          </a:p>
        </p:txBody>
      </p:sp>
      <p:sp>
        <p:nvSpPr>
          <p:cNvPr id="24" name="矩形 23"/>
          <p:cNvSpPr/>
          <p:nvPr/>
        </p:nvSpPr>
        <p:spPr>
          <a:xfrm>
            <a:off x="1696468" y="2951618"/>
            <a:ext cx="3488967" cy="460375"/>
          </a:xfrm>
          <a:prstGeom prst="rect">
            <a:avLst/>
          </a:prstGeom>
        </p:spPr>
        <p:txBody>
          <a:bodyPr wrap="square">
            <a:spAutoFit/>
          </a:bodyPr>
          <a:lstStyle/>
          <a:p>
            <a:r>
              <a:rPr lang="en-US" altLang="zh-CN" sz="2400" b="1" dirty="0" err="1" smtClean="0">
                <a:solidFill>
                  <a:srgbClr val="0000FF"/>
                </a:solidFill>
                <a:latin typeface="+mj-ea"/>
                <a:ea typeface="+mj-ea"/>
              </a:rPr>
              <a:t>2.3 List类型</a:t>
            </a:r>
            <a:endParaRPr lang="zh-CN" altLang="en-US" sz="2400" dirty="0" err="1" smtClean="0">
              <a:latin typeface="+mj-ea"/>
            </a:endParaRPr>
          </a:p>
        </p:txBody>
      </p:sp>
      <p:sp>
        <p:nvSpPr>
          <p:cNvPr id="25" name="矩形 24"/>
          <p:cNvSpPr/>
          <p:nvPr/>
        </p:nvSpPr>
        <p:spPr>
          <a:xfrm>
            <a:off x="1696468" y="3592333"/>
            <a:ext cx="3488967" cy="460375"/>
          </a:xfrm>
          <a:prstGeom prst="rect">
            <a:avLst/>
          </a:prstGeom>
        </p:spPr>
        <p:txBody>
          <a:bodyPr wrap="square">
            <a:spAutoFit/>
          </a:bodyPr>
          <a:lstStyle/>
          <a:p>
            <a:r>
              <a:rPr lang="en-US" altLang="zh-CN" sz="2400" dirty="0">
                <a:latin typeface="+mj-ea"/>
              </a:rPr>
              <a:t>2.4 </a:t>
            </a:r>
            <a:r>
              <a:rPr lang="en-US" altLang="zh-CN" sz="2400" dirty="0" smtClean="0">
                <a:latin typeface="+mj-ea"/>
              </a:rPr>
              <a:t>Set</a:t>
            </a:r>
            <a:r>
              <a:rPr lang="zh-CN" altLang="en-US" sz="2400" dirty="0" smtClean="0">
                <a:latin typeface="+mj-ea"/>
              </a:rPr>
              <a:t>类型</a:t>
            </a:r>
          </a:p>
        </p:txBody>
      </p:sp>
      <p:sp>
        <p:nvSpPr>
          <p:cNvPr id="3" name="矩形 2"/>
          <p:cNvSpPr/>
          <p:nvPr/>
        </p:nvSpPr>
        <p:spPr>
          <a:xfrm>
            <a:off x="7361444" y="2007242"/>
            <a:ext cx="4475480" cy="1198880"/>
          </a:xfrm>
          <a:prstGeom prst="rect">
            <a:avLst/>
          </a:prstGeom>
        </p:spPr>
        <p:txBody>
          <a:bodyPr wrap="none">
            <a:spAutoFit/>
          </a:bodyPr>
          <a:lstStyle/>
          <a:p>
            <a:r>
              <a:rPr lang="zh-CN" altLang="en-US" sz="3600" dirty="0">
                <a:solidFill>
                  <a:srgbClr val="000000"/>
                </a:solidFill>
              </a:rPr>
              <a:t>第</a:t>
            </a:r>
            <a:r>
              <a:rPr lang="en-US" altLang="zh-CN" sz="3600" dirty="0">
                <a:solidFill>
                  <a:srgbClr val="000000"/>
                </a:solidFill>
              </a:rPr>
              <a:t>2</a:t>
            </a:r>
            <a:r>
              <a:rPr lang="zh-CN" altLang="en-US" sz="3600" dirty="0">
                <a:solidFill>
                  <a:srgbClr val="000000"/>
                </a:solidFill>
              </a:rPr>
              <a:t>章 </a:t>
            </a:r>
            <a:r>
              <a:rPr lang="en-US" altLang="zh-CN" sz="3600" dirty="0" err="1" smtClean="0">
                <a:solidFill>
                  <a:srgbClr val="000000"/>
                </a:solidFill>
              </a:rPr>
              <a:t>Redis</a:t>
            </a:r>
            <a:r>
              <a:rPr lang="zh-CN" altLang="en-US" sz="3600" dirty="0" err="1" smtClean="0">
                <a:solidFill>
                  <a:srgbClr val="000000"/>
                </a:solidFill>
              </a:rPr>
              <a:t>常用数据</a:t>
            </a:r>
          </a:p>
          <a:p>
            <a:r>
              <a:rPr lang="zh-CN" altLang="en-US" sz="3600" dirty="0" err="1" smtClean="0">
                <a:solidFill>
                  <a:srgbClr val="000000"/>
                </a:solidFill>
              </a:rPr>
              <a:t>类型及命令</a:t>
            </a:r>
          </a:p>
        </p:txBody>
      </p:sp>
      <p:cxnSp>
        <p:nvCxnSpPr>
          <p:cNvPr id="5" name="直接连接符 4"/>
          <p:cNvCxnSpPr/>
          <p:nvPr/>
        </p:nvCxnSpPr>
        <p:spPr>
          <a:xfrm>
            <a:off x="7421733" y="3190471"/>
            <a:ext cx="4125389"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7361663" y="3247028"/>
            <a:ext cx="4329575" cy="530594"/>
          </a:xfrm>
          <a:prstGeom prst="rect">
            <a:avLst/>
          </a:prstGeom>
        </p:spPr>
        <p:txBody>
          <a:bodyPr wrap="square">
            <a:spAutoFit/>
          </a:bodyPr>
          <a:lstStyle/>
          <a:p>
            <a:pPr algn="ctr">
              <a:lnSpc>
                <a:spcPct val="132000"/>
              </a:lnSpc>
            </a:pPr>
            <a:r>
              <a:rPr lang="zh-CN" altLang="en-US" sz="2400" dirty="0">
                <a:solidFill>
                  <a:srgbClr val="002060"/>
                </a:solidFill>
              </a:rPr>
              <a:t>主讲：王红玲    主审：汤小丹</a:t>
            </a:r>
            <a:endParaRPr lang="en-US" altLang="zh-CN" sz="2400" dirty="0">
              <a:solidFill>
                <a:srgbClr val="002060"/>
              </a:solidFill>
            </a:endParaRPr>
          </a:p>
        </p:txBody>
      </p: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70048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322153"/>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943818"/>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565483"/>
            <a:ext cx="527050" cy="527050"/>
          </a:xfrm>
          <a:prstGeom prst="rect">
            <a:avLst/>
          </a:prstGeom>
          <a:ln>
            <a:noFill/>
          </a:ln>
          <a:effectLst>
            <a:softEdge rad="0"/>
          </a:effectLst>
        </p:spPr>
      </p:pic>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187148"/>
            <a:ext cx="527050" cy="527050"/>
          </a:xfrm>
          <a:prstGeom prst="rect">
            <a:avLst/>
          </a:prstGeom>
          <a:ln>
            <a:noFill/>
          </a:ln>
          <a:effectLst>
            <a:softEdge rad="0"/>
          </a:effectLst>
        </p:spPr>
      </p:pic>
      <p:sp>
        <p:nvSpPr>
          <p:cNvPr id="7" name="矩形 6"/>
          <p:cNvSpPr/>
          <p:nvPr/>
        </p:nvSpPr>
        <p:spPr>
          <a:xfrm>
            <a:off x="1696720" y="4841875"/>
            <a:ext cx="3681095" cy="460375"/>
          </a:xfrm>
          <a:prstGeom prst="rect">
            <a:avLst/>
          </a:prstGeom>
        </p:spPr>
        <p:txBody>
          <a:bodyPr wrap="square">
            <a:spAutoFit/>
          </a:bodyPr>
          <a:lstStyle/>
          <a:p>
            <a:r>
              <a:rPr lang="en-US" altLang="zh-CN" sz="2400" dirty="0">
                <a:latin typeface="+mj-ea"/>
              </a:rPr>
              <a:t>2.6 Redis HyperLogLog</a:t>
            </a:r>
          </a:p>
        </p:txBody>
      </p:sp>
      <p:pic>
        <p:nvPicPr>
          <p:cNvPr id="9" name="图片 8"/>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808813"/>
            <a:ext cx="527050" cy="527050"/>
          </a:xfrm>
          <a:prstGeom prst="rect">
            <a:avLst/>
          </a:prstGeom>
          <a:ln>
            <a:noFill/>
          </a:ln>
          <a:effectLst>
            <a:softEdge rad="0"/>
          </a:effectLst>
        </p:spPr>
      </p:pic>
      <p:sp>
        <p:nvSpPr>
          <p:cNvPr id="10" name="矩形 9"/>
          <p:cNvSpPr/>
          <p:nvPr/>
        </p:nvSpPr>
        <p:spPr>
          <a:xfrm>
            <a:off x="1696468" y="1742578"/>
            <a:ext cx="3488967" cy="460375"/>
          </a:xfrm>
          <a:prstGeom prst="rect">
            <a:avLst/>
          </a:prstGeom>
        </p:spPr>
        <p:txBody>
          <a:bodyPr wrap="square">
            <a:spAutoFit/>
          </a:bodyPr>
          <a:lstStyle/>
          <a:p>
            <a:r>
              <a:rPr lang="en-US" altLang="zh-CN" sz="2400" dirty="0">
                <a:latin typeface="+mj-ea"/>
              </a:rPr>
              <a:t>2.1 String</a:t>
            </a:r>
            <a:r>
              <a:rPr lang="zh-CN" altLang="en-US" sz="2400" dirty="0" err="1" smtClean="0">
                <a:latin typeface="+mj-ea"/>
              </a:rPr>
              <a:t>类型</a:t>
            </a:r>
          </a:p>
        </p:txBody>
      </p:sp>
      <p:sp>
        <p:nvSpPr>
          <p:cNvPr id="11" name="矩形 10"/>
          <p:cNvSpPr/>
          <p:nvPr/>
        </p:nvSpPr>
        <p:spPr>
          <a:xfrm>
            <a:off x="1696468" y="4222888"/>
            <a:ext cx="3488967" cy="460375"/>
          </a:xfrm>
          <a:prstGeom prst="rect">
            <a:avLst/>
          </a:prstGeom>
        </p:spPr>
        <p:txBody>
          <a:bodyPr wrap="square">
            <a:spAutoFit/>
          </a:bodyPr>
          <a:lstStyle/>
          <a:p>
            <a:r>
              <a:rPr lang="en-US" altLang="zh-CN" sz="2400" dirty="0">
                <a:latin typeface="+mj-ea"/>
              </a:rPr>
              <a:t>2.5 Sorted Set</a:t>
            </a:r>
            <a:r>
              <a:rPr lang="zh-CN" altLang="en-US" sz="2400" dirty="0">
                <a:latin typeface="+mj-ea"/>
              </a:rPr>
              <a:t>类型</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23" name="矩形 22"/>
          <p:cNvSpPr/>
          <p:nvPr/>
        </p:nvSpPr>
        <p:spPr>
          <a:xfrm>
            <a:off x="1696469" y="2375673"/>
            <a:ext cx="3682150" cy="460375"/>
          </a:xfrm>
          <a:prstGeom prst="rect">
            <a:avLst/>
          </a:prstGeom>
        </p:spPr>
        <p:txBody>
          <a:bodyPr wrap="square">
            <a:spAutoFit/>
          </a:bodyPr>
          <a:lstStyle/>
          <a:p>
            <a:r>
              <a:rPr lang="en-US" altLang="zh-CN" sz="2400" dirty="0">
                <a:latin typeface="+mj-ea"/>
              </a:rPr>
              <a:t>2.2 </a:t>
            </a:r>
            <a:r>
              <a:rPr lang="en-US" altLang="zh-CN" sz="2400" dirty="0" err="1" smtClean="0">
                <a:latin typeface="+mj-ea"/>
              </a:rPr>
              <a:t>Hash</a:t>
            </a:r>
            <a:r>
              <a:rPr lang="zh-CN" altLang="en-US" sz="2400" dirty="0" err="1" smtClean="0">
                <a:latin typeface="+mj-ea"/>
              </a:rPr>
              <a:t>类型</a:t>
            </a:r>
          </a:p>
        </p:txBody>
      </p:sp>
      <p:sp>
        <p:nvSpPr>
          <p:cNvPr id="25" name="矩形 24"/>
          <p:cNvSpPr/>
          <p:nvPr/>
        </p:nvSpPr>
        <p:spPr>
          <a:xfrm>
            <a:off x="1696468" y="3592333"/>
            <a:ext cx="3488967" cy="460375"/>
          </a:xfrm>
          <a:prstGeom prst="rect">
            <a:avLst/>
          </a:prstGeom>
        </p:spPr>
        <p:txBody>
          <a:bodyPr wrap="square">
            <a:spAutoFit/>
          </a:bodyPr>
          <a:lstStyle/>
          <a:p>
            <a:r>
              <a:rPr lang="en-US" altLang="zh-CN" sz="2400" b="1" dirty="0" err="1" smtClean="0">
                <a:solidFill>
                  <a:srgbClr val="0000FF"/>
                </a:solidFill>
                <a:latin typeface="+mj-ea"/>
                <a:ea typeface="+mj-ea"/>
              </a:rPr>
              <a:t>2.4 Set类型</a:t>
            </a:r>
            <a:endParaRPr lang="zh-CN" altLang="en-US" sz="2400" dirty="0" smtClean="0">
              <a:latin typeface="+mj-ea"/>
            </a:endParaRPr>
          </a:p>
        </p:txBody>
      </p:sp>
      <p:sp>
        <p:nvSpPr>
          <p:cNvPr id="3" name="矩形 2"/>
          <p:cNvSpPr/>
          <p:nvPr/>
        </p:nvSpPr>
        <p:spPr>
          <a:xfrm>
            <a:off x="7361444" y="2007242"/>
            <a:ext cx="4475480" cy="1198880"/>
          </a:xfrm>
          <a:prstGeom prst="rect">
            <a:avLst/>
          </a:prstGeom>
        </p:spPr>
        <p:txBody>
          <a:bodyPr wrap="none">
            <a:spAutoFit/>
          </a:bodyPr>
          <a:lstStyle/>
          <a:p>
            <a:r>
              <a:rPr lang="zh-CN" altLang="en-US" sz="3600" dirty="0">
                <a:solidFill>
                  <a:srgbClr val="000000"/>
                </a:solidFill>
              </a:rPr>
              <a:t>第</a:t>
            </a:r>
            <a:r>
              <a:rPr lang="en-US" altLang="zh-CN" sz="3600" dirty="0">
                <a:solidFill>
                  <a:srgbClr val="000000"/>
                </a:solidFill>
              </a:rPr>
              <a:t>2</a:t>
            </a:r>
            <a:r>
              <a:rPr lang="zh-CN" altLang="en-US" sz="3600" dirty="0">
                <a:solidFill>
                  <a:srgbClr val="000000"/>
                </a:solidFill>
              </a:rPr>
              <a:t>章 </a:t>
            </a:r>
            <a:r>
              <a:rPr lang="en-US" altLang="zh-CN" sz="3600" dirty="0" err="1" smtClean="0">
                <a:solidFill>
                  <a:srgbClr val="000000"/>
                </a:solidFill>
              </a:rPr>
              <a:t>Redis</a:t>
            </a:r>
            <a:r>
              <a:rPr lang="zh-CN" altLang="en-US" sz="3600" dirty="0" err="1" smtClean="0">
                <a:solidFill>
                  <a:srgbClr val="000000"/>
                </a:solidFill>
              </a:rPr>
              <a:t>常用数据</a:t>
            </a:r>
          </a:p>
          <a:p>
            <a:r>
              <a:rPr lang="zh-CN" altLang="en-US" sz="3600" dirty="0" err="1" smtClean="0">
                <a:solidFill>
                  <a:srgbClr val="000000"/>
                </a:solidFill>
              </a:rPr>
              <a:t>类型及命令</a:t>
            </a:r>
          </a:p>
        </p:txBody>
      </p:sp>
      <p:cxnSp>
        <p:nvCxnSpPr>
          <p:cNvPr id="5" name="直接连接符 4"/>
          <p:cNvCxnSpPr/>
          <p:nvPr/>
        </p:nvCxnSpPr>
        <p:spPr>
          <a:xfrm>
            <a:off x="7421733" y="3190471"/>
            <a:ext cx="4125389"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7361663" y="3247028"/>
            <a:ext cx="4329575" cy="530594"/>
          </a:xfrm>
          <a:prstGeom prst="rect">
            <a:avLst/>
          </a:prstGeom>
        </p:spPr>
        <p:txBody>
          <a:bodyPr wrap="square">
            <a:spAutoFit/>
          </a:bodyPr>
          <a:lstStyle/>
          <a:p>
            <a:pPr algn="ctr">
              <a:lnSpc>
                <a:spcPct val="132000"/>
              </a:lnSpc>
            </a:pPr>
            <a:r>
              <a:rPr lang="zh-CN" altLang="en-US" sz="2400" dirty="0">
                <a:solidFill>
                  <a:srgbClr val="002060"/>
                </a:solidFill>
              </a:rPr>
              <a:t>主讲：王红玲    主审：汤小丹</a:t>
            </a:r>
            <a:endParaRPr lang="en-US" altLang="zh-CN" sz="2400" dirty="0">
              <a:solidFill>
                <a:srgbClr val="002060"/>
              </a:solidFill>
            </a:endParaRPr>
          </a:p>
        </p:txBody>
      </p: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70048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322153"/>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943818"/>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565483"/>
            <a:ext cx="527050" cy="527050"/>
          </a:xfrm>
          <a:prstGeom prst="rect">
            <a:avLst/>
          </a:prstGeom>
          <a:ln>
            <a:noFill/>
          </a:ln>
          <a:effectLst>
            <a:softEdge rad="0"/>
          </a:effectLst>
        </p:spPr>
      </p:pic>
      <p:sp>
        <p:nvSpPr>
          <p:cNvPr id="2" name="矩形 1"/>
          <p:cNvSpPr/>
          <p:nvPr/>
        </p:nvSpPr>
        <p:spPr>
          <a:xfrm>
            <a:off x="1696468" y="4222888"/>
            <a:ext cx="3488967" cy="460375"/>
          </a:xfrm>
          <a:prstGeom prst="rect">
            <a:avLst/>
          </a:prstGeom>
        </p:spPr>
        <p:txBody>
          <a:bodyPr wrap="square">
            <a:spAutoFit/>
          </a:bodyPr>
          <a:lstStyle/>
          <a:p>
            <a:r>
              <a:rPr lang="en-US" altLang="zh-CN" sz="2400" dirty="0">
                <a:latin typeface="+mj-ea"/>
              </a:rPr>
              <a:t>2.5 Sorted Set</a:t>
            </a:r>
            <a:r>
              <a:rPr lang="zh-CN" altLang="en-US" sz="2400" dirty="0">
                <a:latin typeface="+mj-ea"/>
              </a:rPr>
              <a:t>类型</a:t>
            </a:r>
          </a:p>
        </p:txBody>
      </p:sp>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187148"/>
            <a:ext cx="527050" cy="527050"/>
          </a:xfrm>
          <a:prstGeom prst="rect">
            <a:avLst/>
          </a:prstGeom>
          <a:ln>
            <a:noFill/>
          </a:ln>
          <a:effectLst>
            <a:softEdge rad="0"/>
          </a:effectLst>
        </p:spPr>
      </p:pic>
      <p:sp>
        <p:nvSpPr>
          <p:cNvPr id="7" name="矩形 6"/>
          <p:cNvSpPr/>
          <p:nvPr/>
        </p:nvSpPr>
        <p:spPr>
          <a:xfrm>
            <a:off x="1696720" y="4841875"/>
            <a:ext cx="3681095" cy="460375"/>
          </a:xfrm>
          <a:prstGeom prst="rect">
            <a:avLst/>
          </a:prstGeom>
        </p:spPr>
        <p:txBody>
          <a:bodyPr wrap="square">
            <a:spAutoFit/>
          </a:bodyPr>
          <a:lstStyle/>
          <a:p>
            <a:r>
              <a:rPr lang="en-US" altLang="zh-CN" sz="2400" dirty="0">
                <a:latin typeface="+mj-ea"/>
              </a:rPr>
              <a:t>2.6 Redis HyperLogLog</a:t>
            </a:r>
          </a:p>
        </p:txBody>
      </p:sp>
      <p:pic>
        <p:nvPicPr>
          <p:cNvPr id="9" name="图片 8"/>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808813"/>
            <a:ext cx="527050" cy="527050"/>
          </a:xfrm>
          <a:prstGeom prst="rect">
            <a:avLst/>
          </a:prstGeom>
          <a:ln>
            <a:noFill/>
          </a:ln>
          <a:effectLst>
            <a:softEdge rad="0"/>
          </a:effectLst>
        </p:spPr>
      </p:pic>
      <p:sp>
        <p:nvSpPr>
          <p:cNvPr id="10" name="矩形 9"/>
          <p:cNvSpPr/>
          <p:nvPr/>
        </p:nvSpPr>
        <p:spPr>
          <a:xfrm>
            <a:off x="1696468" y="1742578"/>
            <a:ext cx="3488967" cy="460375"/>
          </a:xfrm>
          <a:prstGeom prst="rect">
            <a:avLst/>
          </a:prstGeom>
        </p:spPr>
        <p:txBody>
          <a:bodyPr wrap="square">
            <a:spAutoFit/>
          </a:bodyPr>
          <a:lstStyle/>
          <a:p>
            <a:r>
              <a:rPr lang="en-US" altLang="zh-CN" sz="2400" dirty="0">
                <a:latin typeface="+mj-ea"/>
              </a:rPr>
              <a:t>2.1 String</a:t>
            </a:r>
            <a:r>
              <a:rPr lang="zh-CN" altLang="en-US" sz="2400" dirty="0" err="1" smtClean="0">
                <a:latin typeface="+mj-ea"/>
              </a:rPr>
              <a:t>类型</a:t>
            </a:r>
          </a:p>
        </p:txBody>
      </p:sp>
      <p:sp>
        <p:nvSpPr>
          <p:cNvPr id="11" name="矩形 10"/>
          <p:cNvSpPr/>
          <p:nvPr/>
        </p:nvSpPr>
        <p:spPr>
          <a:xfrm>
            <a:off x="1696468" y="2951618"/>
            <a:ext cx="3488967" cy="460375"/>
          </a:xfrm>
          <a:prstGeom prst="rect">
            <a:avLst/>
          </a:prstGeom>
        </p:spPr>
        <p:txBody>
          <a:bodyPr wrap="square">
            <a:spAutoFit/>
          </a:bodyPr>
          <a:lstStyle/>
          <a:p>
            <a:r>
              <a:rPr lang="en-US" altLang="zh-CN" sz="2400" dirty="0">
                <a:latin typeface="+mj-ea"/>
              </a:rPr>
              <a:t>2.3 </a:t>
            </a:r>
            <a:r>
              <a:rPr lang="en-US" altLang="zh-CN" sz="2400" dirty="0" err="1" smtClean="0">
                <a:latin typeface="+mj-ea"/>
              </a:rPr>
              <a:t>List</a:t>
            </a:r>
            <a:r>
              <a:rPr lang="zh-CN" altLang="en-US" sz="2400" dirty="0" err="1" smtClean="0">
                <a:latin typeface="+mj-ea"/>
              </a:rPr>
              <a:t>类型</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23" name="矩形 22"/>
          <p:cNvSpPr/>
          <p:nvPr/>
        </p:nvSpPr>
        <p:spPr>
          <a:xfrm>
            <a:off x="1696469" y="2375673"/>
            <a:ext cx="3682150" cy="460375"/>
          </a:xfrm>
          <a:prstGeom prst="rect">
            <a:avLst/>
          </a:prstGeom>
        </p:spPr>
        <p:txBody>
          <a:bodyPr wrap="square">
            <a:spAutoFit/>
          </a:bodyPr>
          <a:lstStyle/>
          <a:p>
            <a:r>
              <a:rPr lang="en-US" altLang="zh-CN" sz="2400" dirty="0">
                <a:latin typeface="+mj-ea"/>
              </a:rPr>
              <a:t>2.2 </a:t>
            </a:r>
            <a:r>
              <a:rPr lang="en-US" altLang="zh-CN" sz="2400" dirty="0" err="1" smtClean="0">
                <a:latin typeface="+mj-ea"/>
              </a:rPr>
              <a:t>Hash</a:t>
            </a:r>
            <a:r>
              <a:rPr lang="zh-CN" altLang="en-US" sz="2400" dirty="0" err="1" smtClean="0">
                <a:latin typeface="+mj-ea"/>
              </a:rPr>
              <a:t>类型</a:t>
            </a:r>
          </a:p>
        </p:txBody>
      </p:sp>
      <p:sp>
        <p:nvSpPr>
          <p:cNvPr id="25" name="矩形 24"/>
          <p:cNvSpPr/>
          <p:nvPr/>
        </p:nvSpPr>
        <p:spPr>
          <a:xfrm>
            <a:off x="1696468" y="3592333"/>
            <a:ext cx="3488967" cy="460375"/>
          </a:xfrm>
          <a:prstGeom prst="rect">
            <a:avLst/>
          </a:prstGeom>
        </p:spPr>
        <p:txBody>
          <a:bodyPr wrap="square">
            <a:spAutoFit/>
          </a:bodyPr>
          <a:lstStyle/>
          <a:p>
            <a:r>
              <a:rPr lang="en-US" altLang="zh-CN" sz="2400" dirty="0">
                <a:latin typeface="+mj-ea"/>
              </a:rPr>
              <a:t>2.4 </a:t>
            </a:r>
            <a:r>
              <a:rPr lang="en-US" altLang="zh-CN" sz="2400" dirty="0" smtClean="0">
                <a:latin typeface="+mj-ea"/>
              </a:rPr>
              <a:t>Set</a:t>
            </a:r>
            <a:r>
              <a:rPr lang="zh-CN" altLang="en-US" sz="2400" dirty="0" smtClean="0">
                <a:latin typeface="+mj-ea"/>
              </a:rPr>
              <a:t>类型</a:t>
            </a:r>
          </a:p>
        </p:txBody>
      </p:sp>
      <p:sp>
        <p:nvSpPr>
          <p:cNvPr id="3" name="矩形 2"/>
          <p:cNvSpPr/>
          <p:nvPr/>
        </p:nvSpPr>
        <p:spPr>
          <a:xfrm>
            <a:off x="7361444" y="2007242"/>
            <a:ext cx="4475480" cy="1198880"/>
          </a:xfrm>
          <a:prstGeom prst="rect">
            <a:avLst/>
          </a:prstGeom>
        </p:spPr>
        <p:txBody>
          <a:bodyPr wrap="none">
            <a:spAutoFit/>
          </a:bodyPr>
          <a:lstStyle/>
          <a:p>
            <a:r>
              <a:rPr lang="zh-CN" altLang="en-US" sz="3600" dirty="0">
                <a:solidFill>
                  <a:srgbClr val="000000"/>
                </a:solidFill>
              </a:rPr>
              <a:t>第</a:t>
            </a:r>
            <a:r>
              <a:rPr lang="en-US" altLang="zh-CN" sz="3600" dirty="0">
                <a:solidFill>
                  <a:srgbClr val="000000"/>
                </a:solidFill>
              </a:rPr>
              <a:t>2</a:t>
            </a:r>
            <a:r>
              <a:rPr lang="zh-CN" altLang="en-US" sz="3600" dirty="0">
                <a:solidFill>
                  <a:srgbClr val="000000"/>
                </a:solidFill>
              </a:rPr>
              <a:t>章 </a:t>
            </a:r>
            <a:r>
              <a:rPr lang="en-US" altLang="zh-CN" sz="3600" dirty="0" err="1" smtClean="0">
                <a:solidFill>
                  <a:srgbClr val="000000"/>
                </a:solidFill>
              </a:rPr>
              <a:t>Redis</a:t>
            </a:r>
            <a:r>
              <a:rPr lang="zh-CN" altLang="en-US" sz="3600" dirty="0" err="1" smtClean="0">
                <a:solidFill>
                  <a:srgbClr val="000000"/>
                </a:solidFill>
              </a:rPr>
              <a:t>常用数据</a:t>
            </a:r>
          </a:p>
          <a:p>
            <a:r>
              <a:rPr lang="zh-CN" altLang="en-US" sz="3600" dirty="0" err="1" smtClean="0">
                <a:solidFill>
                  <a:srgbClr val="000000"/>
                </a:solidFill>
              </a:rPr>
              <a:t>类型及命令</a:t>
            </a:r>
          </a:p>
        </p:txBody>
      </p:sp>
      <p:cxnSp>
        <p:nvCxnSpPr>
          <p:cNvPr id="5" name="直接连接符 4"/>
          <p:cNvCxnSpPr/>
          <p:nvPr/>
        </p:nvCxnSpPr>
        <p:spPr>
          <a:xfrm>
            <a:off x="7421733" y="3190471"/>
            <a:ext cx="4125389"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7361663" y="3247028"/>
            <a:ext cx="4329575" cy="530594"/>
          </a:xfrm>
          <a:prstGeom prst="rect">
            <a:avLst/>
          </a:prstGeom>
        </p:spPr>
        <p:txBody>
          <a:bodyPr wrap="square">
            <a:spAutoFit/>
          </a:bodyPr>
          <a:lstStyle/>
          <a:p>
            <a:pPr algn="ctr">
              <a:lnSpc>
                <a:spcPct val="132000"/>
              </a:lnSpc>
            </a:pPr>
            <a:r>
              <a:rPr lang="zh-CN" altLang="en-US" sz="2400" dirty="0">
                <a:solidFill>
                  <a:srgbClr val="002060"/>
                </a:solidFill>
              </a:rPr>
              <a:t>主讲：王红玲    主审：汤小丹</a:t>
            </a:r>
            <a:endParaRPr lang="en-US" altLang="zh-CN" sz="2400" dirty="0">
              <a:solidFill>
                <a:srgbClr val="002060"/>
              </a:solidFill>
            </a:endParaRPr>
          </a:p>
        </p:txBody>
      </p: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70048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322153"/>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943818"/>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565483"/>
            <a:ext cx="527050" cy="527050"/>
          </a:xfrm>
          <a:prstGeom prst="rect">
            <a:avLst/>
          </a:prstGeom>
          <a:ln>
            <a:noFill/>
          </a:ln>
          <a:effectLst>
            <a:softEdge rad="0"/>
          </a:effectLst>
        </p:spPr>
      </p:pic>
      <p:sp>
        <p:nvSpPr>
          <p:cNvPr id="2" name="矩形 1"/>
          <p:cNvSpPr/>
          <p:nvPr/>
        </p:nvSpPr>
        <p:spPr>
          <a:xfrm>
            <a:off x="1696468" y="4222888"/>
            <a:ext cx="3488967" cy="460375"/>
          </a:xfrm>
          <a:prstGeom prst="rect">
            <a:avLst/>
          </a:prstGeom>
        </p:spPr>
        <p:txBody>
          <a:bodyPr wrap="square">
            <a:spAutoFit/>
          </a:bodyPr>
          <a:lstStyle/>
          <a:p>
            <a:r>
              <a:rPr lang="en-US" altLang="zh-CN" sz="2400" b="1" dirty="0" err="1" smtClean="0">
                <a:solidFill>
                  <a:srgbClr val="0000FF"/>
                </a:solidFill>
                <a:latin typeface="+mj-ea"/>
                <a:ea typeface="+mj-ea"/>
              </a:rPr>
              <a:t>2.5 Sorted Set类型</a:t>
            </a:r>
          </a:p>
        </p:txBody>
      </p:sp>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187148"/>
            <a:ext cx="527050" cy="527050"/>
          </a:xfrm>
          <a:prstGeom prst="rect">
            <a:avLst/>
          </a:prstGeom>
          <a:ln>
            <a:noFill/>
          </a:ln>
          <a:effectLst>
            <a:softEdge rad="0"/>
          </a:effectLst>
        </p:spPr>
      </p:pic>
      <p:sp>
        <p:nvSpPr>
          <p:cNvPr id="7" name="矩形 6"/>
          <p:cNvSpPr/>
          <p:nvPr/>
        </p:nvSpPr>
        <p:spPr>
          <a:xfrm>
            <a:off x="1696720" y="4841875"/>
            <a:ext cx="3681095" cy="460375"/>
          </a:xfrm>
          <a:prstGeom prst="rect">
            <a:avLst/>
          </a:prstGeom>
        </p:spPr>
        <p:txBody>
          <a:bodyPr wrap="square">
            <a:spAutoFit/>
          </a:bodyPr>
          <a:lstStyle/>
          <a:p>
            <a:r>
              <a:rPr lang="en-US" altLang="zh-CN" sz="2400" dirty="0">
                <a:latin typeface="+mj-ea"/>
              </a:rPr>
              <a:t>2.6 Redis HyperLogLog</a:t>
            </a:r>
          </a:p>
        </p:txBody>
      </p:sp>
      <p:pic>
        <p:nvPicPr>
          <p:cNvPr id="9" name="图片 8"/>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808813"/>
            <a:ext cx="527050" cy="527050"/>
          </a:xfrm>
          <a:prstGeom prst="rect">
            <a:avLst/>
          </a:prstGeom>
          <a:ln>
            <a:noFill/>
          </a:ln>
          <a:effectLst>
            <a:softEdge rad="0"/>
          </a:effectLst>
        </p:spPr>
      </p:pic>
      <p:sp>
        <p:nvSpPr>
          <p:cNvPr id="10" name="矩形 9"/>
          <p:cNvSpPr/>
          <p:nvPr/>
        </p:nvSpPr>
        <p:spPr>
          <a:xfrm>
            <a:off x="1696468" y="1742578"/>
            <a:ext cx="3488967" cy="460375"/>
          </a:xfrm>
          <a:prstGeom prst="rect">
            <a:avLst/>
          </a:prstGeom>
        </p:spPr>
        <p:txBody>
          <a:bodyPr wrap="square">
            <a:spAutoFit/>
          </a:bodyPr>
          <a:lstStyle/>
          <a:p>
            <a:r>
              <a:rPr lang="en-US" altLang="zh-CN" sz="2400" dirty="0">
                <a:latin typeface="+mj-ea"/>
              </a:rPr>
              <a:t>2.1 String</a:t>
            </a:r>
            <a:r>
              <a:rPr lang="zh-CN" altLang="en-US" sz="2400" dirty="0" err="1" smtClean="0">
                <a:latin typeface="+mj-ea"/>
              </a:rPr>
              <a:t>类型</a:t>
            </a:r>
          </a:p>
        </p:txBody>
      </p:sp>
      <p:sp>
        <p:nvSpPr>
          <p:cNvPr id="11" name="矩形 10"/>
          <p:cNvSpPr/>
          <p:nvPr/>
        </p:nvSpPr>
        <p:spPr>
          <a:xfrm>
            <a:off x="1696468" y="2951618"/>
            <a:ext cx="3488967" cy="460375"/>
          </a:xfrm>
          <a:prstGeom prst="rect">
            <a:avLst/>
          </a:prstGeom>
        </p:spPr>
        <p:txBody>
          <a:bodyPr wrap="square">
            <a:spAutoFit/>
          </a:bodyPr>
          <a:lstStyle/>
          <a:p>
            <a:r>
              <a:rPr lang="en-US" altLang="zh-CN" sz="2400" dirty="0">
                <a:latin typeface="+mj-ea"/>
              </a:rPr>
              <a:t>2.3 </a:t>
            </a:r>
            <a:r>
              <a:rPr lang="en-US" altLang="zh-CN" sz="2400" dirty="0" err="1" smtClean="0">
                <a:latin typeface="+mj-ea"/>
              </a:rPr>
              <a:t>List</a:t>
            </a:r>
            <a:r>
              <a:rPr lang="zh-CN" altLang="en-US" sz="2400" dirty="0" err="1" smtClean="0">
                <a:latin typeface="+mj-ea"/>
              </a:rPr>
              <a:t>类型</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23" name="矩形 22"/>
          <p:cNvSpPr/>
          <p:nvPr/>
        </p:nvSpPr>
        <p:spPr>
          <a:xfrm>
            <a:off x="1696469" y="2375673"/>
            <a:ext cx="3682150" cy="460375"/>
          </a:xfrm>
          <a:prstGeom prst="rect">
            <a:avLst/>
          </a:prstGeom>
        </p:spPr>
        <p:txBody>
          <a:bodyPr wrap="square">
            <a:spAutoFit/>
          </a:bodyPr>
          <a:lstStyle/>
          <a:p>
            <a:r>
              <a:rPr lang="en-US" altLang="zh-CN" sz="2400" dirty="0">
                <a:latin typeface="+mj-ea"/>
              </a:rPr>
              <a:t>2.2 </a:t>
            </a:r>
            <a:r>
              <a:rPr lang="en-US" altLang="zh-CN" sz="2400" dirty="0" err="1" smtClean="0">
                <a:latin typeface="+mj-ea"/>
              </a:rPr>
              <a:t>Hash</a:t>
            </a:r>
            <a:r>
              <a:rPr lang="zh-CN" altLang="en-US" sz="2400" dirty="0" err="1" smtClean="0">
                <a:latin typeface="+mj-ea"/>
              </a:rPr>
              <a:t>类型</a:t>
            </a:r>
          </a:p>
        </p:txBody>
      </p:sp>
      <p:sp>
        <p:nvSpPr>
          <p:cNvPr id="3" name="矩形 2"/>
          <p:cNvSpPr/>
          <p:nvPr/>
        </p:nvSpPr>
        <p:spPr>
          <a:xfrm>
            <a:off x="7361444" y="2007242"/>
            <a:ext cx="4475480" cy="1198880"/>
          </a:xfrm>
          <a:prstGeom prst="rect">
            <a:avLst/>
          </a:prstGeom>
        </p:spPr>
        <p:txBody>
          <a:bodyPr wrap="none">
            <a:spAutoFit/>
          </a:bodyPr>
          <a:lstStyle/>
          <a:p>
            <a:r>
              <a:rPr lang="zh-CN" altLang="en-US" sz="3600" dirty="0">
                <a:solidFill>
                  <a:srgbClr val="000000"/>
                </a:solidFill>
              </a:rPr>
              <a:t>第</a:t>
            </a:r>
            <a:r>
              <a:rPr lang="en-US" altLang="zh-CN" sz="3600" dirty="0">
                <a:solidFill>
                  <a:srgbClr val="000000"/>
                </a:solidFill>
              </a:rPr>
              <a:t>2</a:t>
            </a:r>
            <a:r>
              <a:rPr lang="zh-CN" altLang="en-US" sz="3600" dirty="0">
                <a:solidFill>
                  <a:srgbClr val="000000"/>
                </a:solidFill>
              </a:rPr>
              <a:t>章 </a:t>
            </a:r>
            <a:r>
              <a:rPr lang="en-US" altLang="zh-CN" sz="3600" dirty="0" err="1" smtClean="0">
                <a:solidFill>
                  <a:srgbClr val="000000"/>
                </a:solidFill>
              </a:rPr>
              <a:t>Redis</a:t>
            </a:r>
            <a:r>
              <a:rPr lang="zh-CN" altLang="en-US" sz="3600" dirty="0" err="1" smtClean="0">
                <a:solidFill>
                  <a:srgbClr val="000000"/>
                </a:solidFill>
              </a:rPr>
              <a:t>常用数据</a:t>
            </a:r>
          </a:p>
          <a:p>
            <a:r>
              <a:rPr lang="zh-CN" altLang="en-US" sz="3600" dirty="0" err="1" smtClean="0">
                <a:solidFill>
                  <a:srgbClr val="000000"/>
                </a:solidFill>
              </a:rPr>
              <a:t>类型及命令</a:t>
            </a:r>
          </a:p>
        </p:txBody>
      </p:sp>
      <p:cxnSp>
        <p:nvCxnSpPr>
          <p:cNvPr id="5" name="直接连接符 4"/>
          <p:cNvCxnSpPr/>
          <p:nvPr/>
        </p:nvCxnSpPr>
        <p:spPr>
          <a:xfrm>
            <a:off x="7421733" y="3190471"/>
            <a:ext cx="4125389"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7361663" y="3247028"/>
            <a:ext cx="4329575" cy="530594"/>
          </a:xfrm>
          <a:prstGeom prst="rect">
            <a:avLst/>
          </a:prstGeom>
        </p:spPr>
        <p:txBody>
          <a:bodyPr wrap="square">
            <a:spAutoFit/>
          </a:bodyPr>
          <a:lstStyle/>
          <a:p>
            <a:pPr algn="ctr">
              <a:lnSpc>
                <a:spcPct val="132000"/>
              </a:lnSpc>
            </a:pPr>
            <a:r>
              <a:rPr lang="zh-CN" altLang="en-US" sz="2400" dirty="0">
                <a:solidFill>
                  <a:srgbClr val="002060"/>
                </a:solidFill>
              </a:rPr>
              <a:t>主讲：王红玲    主审：汤小丹</a:t>
            </a:r>
            <a:endParaRPr lang="en-US" altLang="zh-CN" sz="2400" dirty="0">
              <a:solidFill>
                <a:srgbClr val="002060"/>
              </a:solidFill>
            </a:endParaRPr>
          </a:p>
        </p:txBody>
      </p: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70048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322153"/>
            <a:ext cx="527050" cy="527050"/>
          </a:xfrm>
          <a:prstGeom prst="rect">
            <a:avLst/>
          </a:prstGeom>
          <a:ln>
            <a:noFill/>
          </a:ln>
          <a:effectLst>
            <a:softEdge rad="0"/>
          </a:effectLst>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943818"/>
            <a:ext cx="527050" cy="527050"/>
          </a:xfrm>
          <a:prstGeom prst="rect">
            <a:avLst/>
          </a:prstGeom>
          <a:ln>
            <a:noFill/>
          </a:ln>
          <a:effectLst>
            <a:softEdge rad="0"/>
          </a:effectLst>
        </p:spPr>
      </p:pic>
      <p:pic>
        <p:nvPicPr>
          <p:cNvPr id="41" name="图片 4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3565483"/>
            <a:ext cx="527050" cy="527050"/>
          </a:xfrm>
          <a:prstGeom prst="rect">
            <a:avLst/>
          </a:prstGeom>
          <a:ln>
            <a:noFill/>
          </a:ln>
          <a:effectLst>
            <a:softEdge rad="0"/>
          </a:effectLst>
        </p:spPr>
      </p:pic>
      <p:sp>
        <p:nvSpPr>
          <p:cNvPr id="2" name="矩形 1"/>
          <p:cNvSpPr/>
          <p:nvPr/>
        </p:nvSpPr>
        <p:spPr>
          <a:xfrm>
            <a:off x="1696468" y="4222888"/>
            <a:ext cx="3488967" cy="460375"/>
          </a:xfrm>
          <a:prstGeom prst="rect">
            <a:avLst/>
          </a:prstGeom>
        </p:spPr>
        <p:txBody>
          <a:bodyPr wrap="square">
            <a:spAutoFit/>
          </a:bodyPr>
          <a:lstStyle/>
          <a:p>
            <a:r>
              <a:rPr lang="en-US" altLang="zh-CN" sz="2400" dirty="0">
                <a:latin typeface="+mj-ea"/>
              </a:rPr>
              <a:t>2.5 Sorted Set</a:t>
            </a:r>
            <a:r>
              <a:rPr lang="zh-CN" altLang="en-US" sz="2400" dirty="0">
                <a:latin typeface="+mj-ea"/>
              </a:rPr>
              <a:t>类型</a:t>
            </a:r>
          </a:p>
        </p:txBody>
      </p:sp>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187148"/>
            <a:ext cx="527050" cy="527050"/>
          </a:xfrm>
          <a:prstGeom prst="rect">
            <a:avLst/>
          </a:prstGeom>
          <a:ln>
            <a:noFill/>
          </a:ln>
          <a:effectLst>
            <a:softEdge rad="0"/>
          </a:effectLst>
        </p:spPr>
      </p:pic>
      <p:sp>
        <p:nvSpPr>
          <p:cNvPr id="7" name="矩形 6"/>
          <p:cNvSpPr/>
          <p:nvPr/>
        </p:nvSpPr>
        <p:spPr>
          <a:xfrm>
            <a:off x="1696720" y="4841875"/>
            <a:ext cx="3681095" cy="460375"/>
          </a:xfrm>
          <a:prstGeom prst="rect">
            <a:avLst/>
          </a:prstGeom>
        </p:spPr>
        <p:txBody>
          <a:bodyPr wrap="square">
            <a:spAutoFit/>
          </a:bodyPr>
          <a:lstStyle/>
          <a:p>
            <a:r>
              <a:rPr lang="en-US" altLang="zh-CN" sz="2400" b="1" dirty="0" err="1" smtClean="0">
                <a:solidFill>
                  <a:srgbClr val="0000FF"/>
                </a:solidFill>
                <a:latin typeface="+mj-ea"/>
                <a:ea typeface="+mj-ea"/>
              </a:rPr>
              <a:t>2.6 Redis HyperLogLog</a:t>
            </a:r>
            <a:endParaRPr lang="en-US" altLang="zh-CN" sz="2400" dirty="0">
              <a:latin typeface="+mj-ea"/>
            </a:endParaRPr>
          </a:p>
        </p:txBody>
      </p:sp>
      <p:pic>
        <p:nvPicPr>
          <p:cNvPr id="9" name="图片 8"/>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4808813"/>
            <a:ext cx="527050" cy="527050"/>
          </a:xfrm>
          <a:prstGeom prst="rect">
            <a:avLst/>
          </a:prstGeom>
          <a:ln>
            <a:noFill/>
          </a:ln>
          <a:effectLst>
            <a:softEdge rad="0"/>
          </a:effectLst>
        </p:spPr>
      </p:pic>
      <p:sp>
        <p:nvSpPr>
          <p:cNvPr id="10" name="矩形 9"/>
          <p:cNvSpPr/>
          <p:nvPr/>
        </p:nvSpPr>
        <p:spPr>
          <a:xfrm>
            <a:off x="1696468" y="1742578"/>
            <a:ext cx="3488967" cy="460375"/>
          </a:xfrm>
          <a:prstGeom prst="rect">
            <a:avLst/>
          </a:prstGeom>
        </p:spPr>
        <p:txBody>
          <a:bodyPr wrap="square">
            <a:spAutoFit/>
          </a:bodyPr>
          <a:lstStyle/>
          <a:p>
            <a:r>
              <a:rPr lang="en-US" altLang="zh-CN" sz="2400" dirty="0">
                <a:latin typeface="+mj-ea"/>
              </a:rPr>
              <a:t>2.1 String</a:t>
            </a:r>
            <a:r>
              <a:rPr lang="zh-CN" altLang="en-US" sz="2400" dirty="0" err="1" smtClean="0">
                <a:latin typeface="+mj-ea"/>
              </a:rPr>
              <a:t>类型</a:t>
            </a:r>
          </a:p>
        </p:txBody>
      </p:sp>
      <p:sp>
        <p:nvSpPr>
          <p:cNvPr id="11" name="矩形 10"/>
          <p:cNvSpPr/>
          <p:nvPr/>
        </p:nvSpPr>
        <p:spPr>
          <a:xfrm>
            <a:off x="1696468" y="2951618"/>
            <a:ext cx="3488967" cy="460375"/>
          </a:xfrm>
          <a:prstGeom prst="rect">
            <a:avLst/>
          </a:prstGeom>
        </p:spPr>
        <p:txBody>
          <a:bodyPr wrap="square">
            <a:spAutoFit/>
          </a:bodyPr>
          <a:lstStyle/>
          <a:p>
            <a:r>
              <a:rPr lang="en-US" altLang="zh-CN" sz="2400" dirty="0">
                <a:latin typeface="+mj-ea"/>
              </a:rPr>
              <a:t>2.3 </a:t>
            </a:r>
            <a:r>
              <a:rPr lang="en-US" altLang="zh-CN" sz="2400" dirty="0" err="1" smtClean="0">
                <a:latin typeface="+mj-ea"/>
              </a:rPr>
              <a:t>List</a:t>
            </a:r>
            <a:r>
              <a:rPr lang="zh-CN" altLang="en-US" sz="2400" dirty="0" err="1" smtClean="0">
                <a:latin typeface="+mj-ea"/>
              </a:rPr>
              <a:t>类型</a:t>
            </a:r>
          </a:p>
        </p:txBody>
      </p:sp>
      <p:sp>
        <p:nvSpPr>
          <p:cNvPr id="12" name="矩形 11"/>
          <p:cNvSpPr/>
          <p:nvPr/>
        </p:nvSpPr>
        <p:spPr>
          <a:xfrm>
            <a:off x="1696468" y="3592333"/>
            <a:ext cx="3488967" cy="460375"/>
          </a:xfrm>
          <a:prstGeom prst="rect">
            <a:avLst/>
          </a:prstGeom>
        </p:spPr>
        <p:txBody>
          <a:bodyPr wrap="square">
            <a:spAutoFit/>
          </a:bodyPr>
          <a:lstStyle/>
          <a:p>
            <a:r>
              <a:rPr lang="en-US" altLang="zh-CN" sz="2400" dirty="0">
                <a:latin typeface="+mj-ea"/>
              </a:rPr>
              <a:t>2.4 </a:t>
            </a:r>
            <a:r>
              <a:rPr lang="en-US" altLang="zh-CN" sz="2400" dirty="0" smtClean="0">
                <a:latin typeface="+mj-ea"/>
              </a:rPr>
              <a:t>Set</a:t>
            </a:r>
            <a:r>
              <a:rPr lang="zh-CN" altLang="en-US" sz="2400" dirty="0" smtClean="0">
                <a:latin typeface="+mj-ea"/>
              </a:rPr>
              <a:t>类型</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90204" pitchFamily="34" charset="0"/>
              <a:ea typeface="微软雅黑" panose="020B0503020204020204" pitchFamily="34" charset="-122"/>
              <a:cs typeface="+mj-cs"/>
              <a:sym typeface="Arial" panose="020B0604020202090204" pitchFamily="34" charset="0"/>
            </a:endParaRPr>
          </a:p>
        </p:txBody>
      </p:sp>
      <p:sp>
        <p:nvSpPr>
          <p:cNvPr id="5" name="标题 4"/>
          <p:cNvSpPr>
            <a:spLocks noGrp="1"/>
          </p:cNvSpPr>
          <p:nvPr>
            <p:ph type="ctrTitle"/>
          </p:nvPr>
        </p:nvSpPr>
        <p:spPr>
          <a:xfrm>
            <a:off x="4895761" y="2739021"/>
            <a:ext cx="6536871" cy="2390427"/>
          </a:xfrm>
        </p:spPr>
        <p:txBody>
          <a:bodyPr>
            <a:normAutofit/>
          </a:bodyPr>
          <a:lstStyle/>
          <a:p>
            <a:r>
              <a:rPr lang="zh-CN" altLang="en-US" sz="6600" dirty="0"/>
              <a:t>学 习 进 步 ！</a:t>
            </a:r>
            <a:endParaRPr lang="zh-CN" altLang="en-US" sz="4000" dirty="0"/>
          </a:p>
        </p:txBody>
      </p:sp>
      <p:sp>
        <p:nvSpPr>
          <p:cNvPr id="8" name="任意多边形: 形状 7"/>
          <p:cNvSpPr/>
          <p:nvPr/>
        </p:nvSpPr>
        <p:spPr>
          <a:xfrm>
            <a:off x="669925" y="2344255"/>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圆角 13"/>
          <p:cNvSpPr/>
          <p:nvPr/>
        </p:nvSpPr>
        <p:spPr>
          <a:xfrm>
            <a:off x="744076" y="6241020"/>
            <a:ext cx="4366476" cy="459272"/>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作者</a:t>
            </a:r>
            <a:r>
              <a:rPr lang="zh-CN" altLang="en-US" b="1" dirty="0" smtClean="0">
                <a:solidFill>
                  <a:schemeClr val="tx1"/>
                </a:solidFill>
              </a:rPr>
              <a:t>：张云河、王硕</a:t>
            </a:r>
            <a:endParaRPr lang="zh-CN" altLang="en-US" b="1" dirty="0">
              <a:solidFill>
                <a:schemeClr val="tx1"/>
              </a:solidFill>
            </a:endParaRPr>
          </a:p>
        </p:txBody>
      </p:sp>
      <p:sp>
        <p:nvSpPr>
          <p:cNvPr id="11" name="矩形 10"/>
          <p:cNvSpPr/>
          <p:nvPr/>
        </p:nvSpPr>
        <p:spPr>
          <a:xfrm>
            <a:off x="905580" y="602297"/>
            <a:ext cx="5373587" cy="430887"/>
          </a:xfrm>
          <a:prstGeom prst="rect">
            <a:avLst/>
          </a:prstGeom>
        </p:spPr>
        <p:txBody>
          <a:bodyPr wrap="none">
            <a:spAutoFit/>
          </a:bodyPr>
          <a:lstStyle/>
          <a:p>
            <a:pPr algn="ctr"/>
            <a:r>
              <a:rPr lang="zh-CN" altLang="en-US" sz="2200" dirty="0">
                <a:solidFill>
                  <a:schemeClr val="bg1"/>
                </a:solidFill>
                <a:sym typeface="+mn-ea"/>
              </a:rPr>
              <a:t>大数据教材</a:t>
            </a:r>
            <a:r>
              <a:rPr lang="en-US" altLang="zh-CN" sz="2200" dirty="0">
                <a:solidFill>
                  <a:schemeClr val="bg1"/>
                </a:solidFill>
                <a:sym typeface="+mn-ea"/>
              </a:rPr>
              <a:t>《</a:t>
            </a:r>
            <a:r>
              <a:rPr lang="en-US" altLang="zh-CN" sz="2200" dirty="0" err="1">
                <a:solidFill>
                  <a:schemeClr val="bg1"/>
                </a:solidFill>
                <a:sym typeface="+mn-ea"/>
              </a:rPr>
              <a:t>Redis</a:t>
            </a:r>
            <a:r>
              <a:rPr lang="en-US" altLang="zh-CN" sz="2200" dirty="0">
                <a:solidFill>
                  <a:schemeClr val="bg1"/>
                </a:solidFill>
                <a:sym typeface="+mn-ea"/>
              </a:rPr>
              <a:t> 6</a:t>
            </a:r>
            <a:r>
              <a:rPr lang="zh-CN" altLang="en-US" sz="2200" dirty="0">
                <a:solidFill>
                  <a:schemeClr val="bg1"/>
                </a:solidFill>
                <a:sym typeface="+mn-ea"/>
              </a:rPr>
              <a:t>开发与实战</a:t>
            </a:r>
            <a:r>
              <a:rPr lang="en-US" altLang="zh-CN" sz="2200" dirty="0">
                <a:solidFill>
                  <a:schemeClr val="bg1"/>
                </a:solidFill>
                <a:sym typeface="+mn-ea"/>
              </a:rPr>
              <a:t>》</a:t>
            </a:r>
            <a:r>
              <a:rPr lang="zh-CN" altLang="en-US" sz="2200" b="1" dirty="0" smtClean="0">
                <a:solidFill>
                  <a:schemeClr val="accent2"/>
                </a:solidFill>
                <a:sym typeface="+mn-ea"/>
              </a:rPr>
              <a:t>最新版</a:t>
            </a:r>
            <a:endParaRPr lang="zh-CN" altLang="en-US" sz="2200" b="1" dirty="0">
              <a:solidFill>
                <a:schemeClr val="accent2"/>
              </a:solidFill>
            </a:endParaRPr>
          </a:p>
        </p:txBody>
      </p:sp>
      <p:pic>
        <p:nvPicPr>
          <p:cNvPr id="13" name="图片 1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406400" y="522760"/>
            <a:ext cx="527050" cy="527050"/>
          </a:xfrm>
          <a:prstGeom prst="rect">
            <a:avLst/>
          </a:prstGeom>
        </p:spPr>
      </p:pic>
      <p:pic>
        <p:nvPicPr>
          <p:cNvPr id="9" name="图片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82240" y="1211016"/>
            <a:ext cx="3353401" cy="4698348"/>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620957" cy="523220"/>
          </a:xfrm>
          <a:prstGeom prst="rect">
            <a:avLst/>
          </a:prstGeom>
        </p:spPr>
        <p:txBody>
          <a:bodyPr wrap="none">
            <a:spAutoFit/>
          </a:bodyPr>
          <a:lstStyle/>
          <a:p>
            <a:r>
              <a:rPr lang="zh-CN" altLang="en-US" sz="2800" b="1" dirty="0">
                <a:solidFill>
                  <a:schemeClr val="bg1"/>
                </a:solidFill>
              </a:rPr>
              <a:t>推荐教材</a:t>
            </a:r>
          </a:p>
        </p:txBody>
      </p:sp>
      <p:sp>
        <p:nvSpPr>
          <p:cNvPr id="17" name="文本框 16"/>
          <p:cNvSpPr txBox="1"/>
          <p:nvPr/>
        </p:nvSpPr>
        <p:spPr>
          <a:xfrm>
            <a:off x="4651235" y="1114767"/>
            <a:ext cx="7017023" cy="3158813"/>
          </a:xfrm>
          <a:prstGeom prst="rect">
            <a:avLst/>
          </a:prstGeom>
          <a:noFill/>
        </p:spPr>
        <p:txBody>
          <a:bodyPr wrap="square" rtlCol="0">
            <a:spAutoFit/>
          </a:bodyPr>
          <a:lstStyle/>
          <a:p>
            <a:pPr algn="just">
              <a:lnSpc>
                <a:spcPct val="120000"/>
              </a:lnSpc>
              <a:spcAft>
                <a:spcPts val="600"/>
              </a:spcAft>
            </a:pPr>
            <a:r>
              <a:rPr lang="zh-CN" altLang="en-US" sz="2800" dirty="0" smtClean="0">
                <a:solidFill>
                  <a:srgbClr val="0000FF"/>
                </a:solidFill>
              </a:rPr>
              <a:t>《</a:t>
            </a:r>
            <a:r>
              <a:rPr lang="en-US" altLang="zh-CN" sz="2800" dirty="0" err="1">
                <a:solidFill>
                  <a:srgbClr val="0000FF"/>
                </a:solidFill>
              </a:rPr>
              <a:t>Redis</a:t>
            </a:r>
            <a:r>
              <a:rPr lang="en-US" altLang="zh-CN" sz="2800" dirty="0">
                <a:solidFill>
                  <a:srgbClr val="0000FF"/>
                </a:solidFill>
              </a:rPr>
              <a:t> 6 </a:t>
            </a:r>
            <a:r>
              <a:rPr lang="zh-CN" altLang="en-US" sz="2800" dirty="0">
                <a:solidFill>
                  <a:srgbClr val="0000FF"/>
                </a:solidFill>
              </a:rPr>
              <a:t>开发与</a:t>
            </a:r>
            <a:r>
              <a:rPr lang="zh-CN" altLang="en-US" sz="2800" dirty="0" smtClean="0">
                <a:solidFill>
                  <a:srgbClr val="0000FF"/>
                </a:solidFill>
              </a:rPr>
              <a:t>实战 </a:t>
            </a:r>
            <a:r>
              <a:rPr lang="zh-CN" altLang="en-US" sz="2800" dirty="0" smtClean="0">
                <a:solidFill>
                  <a:srgbClr val="0000FF"/>
                </a:solidFill>
              </a:rPr>
              <a:t>》</a:t>
            </a:r>
            <a:endParaRPr lang="zh-CN" altLang="en-US" sz="2800" dirty="0">
              <a:solidFill>
                <a:srgbClr val="0000FF"/>
              </a:solidFill>
            </a:endParaRPr>
          </a:p>
          <a:p>
            <a:pPr algn="just">
              <a:lnSpc>
                <a:spcPct val="120000"/>
              </a:lnSpc>
              <a:spcBef>
                <a:spcPts val="500"/>
              </a:spcBef>
            </a:pPr>
            <a:r>
              <a:rPr lang="zh-CN" altLang="en-US" sz="2400" dirty="0"/>
              <a:t>作者</a:t>
            </a:r>
            <a:r>
              <a:rPr lang="zh-CN" altLang="en-US" sz="2400" dirty="0" smtClean="0"/>
              <a:t>：</a:t>
            </a:r>
            <a:r>
              <a:rPr lang="zh-CN" altLang="en-US" sz="2400" dirty="0" smtClean="0"/>
              <a:t>张云河</a:t>
            </a:r>
            <a:r>
              <a:rPr lang="zh-CN" altLang="en-US" sz="2400" dirty="0" smtClean="0">
                <a:sym typeface="+mn-ea"/>
              </a:rPr>
              <a:t>、王硕</a:t>
            </a:r>
            <a:endParaRPr lang="zh-CN" altLang="en-US" sz="2400" dirty="0">
              <a:sym typeface="+mn-ea"/>
            </a:endParaRPr>
          </a:p>
          <a:p>
            <a:pPr algn="just">
              <a:lnSpc>
                <a:spcPct val="120000"/>
              </a:lnSpc>
              <a:spcBef>
                <a:spcPts val="500"/>
              </a:spcBef>
            </a:pPr>
            <a:r>
              <a:rPr lang="zh-CN" altLang="en-US" sz="2400" dirty="0">
                <a:sym typeface="+mn-ea"/>
              </a:rPr>
              <a:t>出版：人民邮电出版社</a:t>
            </a:r>
          </a:p>
          <a:p>
            <a:pPr algn="just">
              <a:lnSpc>
                <a:spcPct val="120000"/>
              </a:lnSpc>
              <a:spcBef>
                <a:spcPts val="500"/>
              </a:spcBef>
            </a:pPr>
            <a:r>
              <a:rPr lang="zh-CN" altLang="en-US" sz="2400" dirty="0">
                <a:sym typeface="+mn-ea"/>
              </a:rPr>
              <a:t>配套</a:t>
            </a:r>
            <a:r>
              <a:rPr lang="zh-CN" altLang="en-US" sz="2400" dirty="0" smtClean="0">
                <a:sym typeface="+mn-ea"/>
              </a:rPr>
              <a:t>：</a:t>
            </a:r>
            <a:r>
              <a:rPr lang="en-US" altLang="zh-CN" sz="2400" dirty="0" smtClean="0">
                <a:sym typeface="+mn-ea"/>
              </a:rPr>
              <a:t>PPT+</a:t>
            </a:r>
            <a:r>
              <a:rPr lang="zh-CN" altLang="en-US" sz="2400" dirty="0">
                <a:sym typeface="+mn-ea"/>
              </a:rPr>
              <a:t>实验指导</a:t>
            </a:r>
          </a:p>
          <a:p>
            <a:pPr algn="just">
              <a:lnSpc>
                <a:spcPct val="120000"/>
              </a:lnSpc>
              <a:spcBef>
                <a:spcPts val="500"/>
              </a:spcBef>
            </a:pPr>
            <a:r>
              <a:rPr lang="zh-CN" altLang="en-US" sz="2400" dirty="0"/>
              <a:t>特点</a:t>
            </a:r>
            <a:r>
              <a:rPr lang="zh-CN" altLang="en-US" sz="2400" dirty="0" smtClean="0"/>
              <a:t>：</a:t>
            </a:r>
            <a:r>
              <a:rPr lang="zh-CN" altLang="en-US" sz="2400" dirty="0" smtClean="0">
                <a:solidFill>
                  <a:srgbClr val="FF0000"/>
                </a:solidFill>
              </a:rPr>
              <a:t>覆盖</a:t>
            </a:r>
            <a:r>
              <a:rPr lang="en-US" altLang="zh-CN" sz="2400" dirty="0" err="1" smtClean="0">
                <a:solidFill>
                  <a:srgbClr val="FF0000"/>
                </a:solidFill>
              </a:rPr>
              <a:t>Redis</a:t>
            </a:r>
            <a:r>
              <a:rPr lang="en-US" altLang="zh-CN" sz="2400" dirty="0" smtClean="0">
                <a:solidFill>
                  <a:srgbClr val="FF0000"/>
                </a:solidFill>
              </a:rPr>
              <a:t> 6</a:t>
            </a:r>
            <a:r>
              <a:rPr lang="zh-CN" altLang="en-US" sz="2400" dirty="0" smtClean="0">
                <a:solidFill>
                  <a:srgbClr val="FF0000"/>
                </a:solidFill>
              </a:rPr>
              <a:t>版本的绝大部分核心特性</a:t>
            </a:r>
            <a:r>
              <a:rPr lang="zh-CN" altLang="en-US" sz="2400" dirty="0" smtClean="0"/>
              <a:t>，面向初学者的行文分格，加上大量的辅助图片等</a:t>
            </a:r>
            <a:r>
              <a:rPr lang="zh-CN" altLang="en-US" sz="2400" dirty="0"/>
              <a:t>。</a:t>
            </a:r>
          </a:p>
        </p:txBody>
      </p:sp>
      <p:sp>
        <p:nvSpPr>
          <p:cNvPr id="12" name="任意多边形: 形状 11"/>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14" name="图片 1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13" name="图片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000" y="1762491"/>
            <a:ext cx="3353401" cy="4698348"/>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90204" pitchFamily="34" charset="0"/>
              <a:ea typeface="微软雅黑" panose="020B0503020204020204" pitchFamily="34" charset="-122"/>
              <a:cs typeface="+mj-cs"/>
              <a:sym typeface="Arial" panose="020B0604020202090204" pitchFamily="34" charset="0"/>
            </a:endParaRPr>
          </a:p>
        </p:txBody>
      </p:sp>
      <p:sp>
        <p:nvSpPr>
          <p:cNvPr id="4" name="标题 3"/>
          <p:cNvSpPr>
            <a:spLocks noGrp="1"/>
          </p:cNvSpPr>
          <p:nvPr>
            <p:ph type="ctrTitle"/>
          </p:nvPr>
        </p:nvSpPr>
        <p:spPr>
          <a:xfrm>
            <a:off x="669925" y="1319455"/>
            <a:ext cx="10850563" cy="3136900"/>
          </a:xfrm>
        </p:spPr>
        <p:txBody>
          <a:bodyPr>
            <a:normAutofit/>
          </a:bodyPr>
          <a:lstStyle/>
          <a:p>
            <a:r>
              <a:rPr lang="en-US" altLang="zh-CN" sz="4800" dirty="0"/>
              <a:t/>
            </a:r>
            <a:br>
              <a:rPr lang="en-US" altLang="zh-CN" sz="4800" dirty="0"/>
            </a:br>
            <a:r>
              <a:rPr sz="4800">
                <a:sym typeface="+mn-ea"/>
              </a:rPr>
              <a:t>第二章 Redis常用数据</a:t>
            </a:r>
            <a:br>
              <a:rPr sz="4800">
                <a:sym typeface="+mn-ea"/>
              </a:rPr>
            </a:br>
            <a:r>
              <a:rPr sz="4800">
                <a:sym typeface="+mn-ea"/>
              </a:rPr>
              <a:t>类型及命令</a:t>
            </a:r>
          </a:p>
        </p:txBody>
      </p:sp>
      <p:sp>
        <p:nvSpPr>
          <p:cNvPr id="29" name="任意多边形: 形状 28"/>
          <p:cNvSpPr/>
          <p:nvPr/>
        </p:nvSpPr>
        <p:spPr>
          <a:xfrm>
            <a:off x="10968292" y="649047"/>
            <a:ext cx="552196" cy="3896208"/>
          </a:xfrm>
          <a:custGeom>
            <a:avLst/>
            <a:gdLst>
              <a:gd name="connsiteX0" fmla="*/ 438280 w 513703"/>
              <a:gd name="connsiteY0" fmla="*/ 3473760 h 3624606"/>
              <a:gd name="connsiteX1" fmla="*/ 513703 w 513703"/>
              <a:gd name="connsiteY1" fmla="*/ 3549183 h 3624606"/>
              <a:gd name="connsiteX2" fmla="*/ 438280 w 513703"/>
              <a:gd name="connsiteY2" fmla="*/ 3624606 h 3624606"/>
              <a:gd name="connsiteX3" fmla="*/ 362857 w 513703"/>
              <a:gd name="connsiteY3" fmla="*/ 3549183 h 3624606"/>
              <a:gd name="connsiteX4" fmla="*/ 438280 w 513703"/>
              <a:gd name="connsiteY4" fmla="*/ 3473760 h 3624606"/>
              <a:gd name="connsiteX5" fmla="*/ 75423 w 513703"/>
              <a:gd name="connsiteY5" fmla="*/ 3473760 h 3624606"/>
              <a:gd name="connsiteX6" fmla="*/ 150846 w 513703"/>
              <a:gd name="connsiteY6" fmla="*/ 3549183 h 3624606"/>
              <a:gd name="connsiteX7" fmla="*/ 75423 w 513703"/>
              <a:gd name="connsiteY7" fmla="*/ 3624606 h 3624606"/>
              <a:gd name="connsiteX8" fmla="*/ 0 w 513703"/>
              <a:gd name="connsiteY8" fmla="*/ 3549183 h 3624606"/>
              <a:gd name="connsiteX9" fmla="*/ 75423 w 513703"/>
              <a:gd name="connsiteY9" fmla="*/ 3473760 h 3624606"/>
              <a:gd name="connsiteX10" fmla="*/ 438280 w 513703"/>
              <a:gd name="connsiteY10" fmla="*/ 3126882 h 3624606"/>
              <a:gd name="connsiteX11" fmla="*/ 513703 w 513703"/>
              <a:gd name="connsiteY11" fmla="*/ 3202305 h 3624606"/>
              <a:gd name="connsiteX12" fmla="*/ 438280 w 513703"/>
              <a:gd name="connsiteY12" fmla="*/ 3277728 h 3624606"/>
              <a:gd name="connsiteX13" fmla="*/ 362857 w 513703"/>
              <a:gd name="connsiteY13" fmla="*/ 3202305 h 3624606"/>
              <a:gd name="connsiteX14" fmla="*/ 438280 w 513703"/>
              <a:gd name="connsiteY14" fmla="*/ 3126882 h 3624606"/>
              <a:gd name="connsiteX15" fmla="*/ 75423 w 513703"/>
              <a:gd name="connsiteY15" fmla="*/ 3126882 h 3624606"/>
              <a:gd name="connsiteX16" fmla="*/ 150846 w 513703"/>
              <a:gd name="connsiteY16" fmla="*/ 3202305 h 3624606"/>
              <a:gd name="connsiteX17" fmla="*/ 75423 w 513703"/>
              <a:gd name="connsiteY17" fmla="*/ 3277728 h 3624606"/>
              <a:gd name="connsiteX18" fmla="*/ 0 w 513703"/>
              <a:gd name="connsiteY18" fmla="*/ 3202305 h 3624606"/>
              <a:gd name="connsiteX19" fmla="*/ 75423 w 513703"/>
              <a:gd name="connsiteY19" fmla="*/ 3126882 h 3624606"/>
              <a:gd name="connsiteX20" fmla="*/ 438280 w 513703"/>
              <a:gd name="connsiteY20" fmla="*/ 2780004 h 3624606"/>
              <a:gd name="connsiteX21" fmla="*/ 513703 w 513703"/>
              <a:gd name="connsiteY21" fmla="*/ 2855427 h 3624606"/>
              <a:gd name="connsiteX22" fmla="*/ 438280 w 513703"/>
              <a:gd name="connsiteY22" fmla="*/ 2930850 h 3624606"/>
              <a:gd name="connsiteX23" fmla="*/ 362857 w 513703"/>
              <a:gd name="connsiteY23" fmla="*/ 2855427 h 3624606"/>
              <a:gd name="connsiteX24" fmla="*/ 438280 w 513703"/>
              <a:gd name="connsiteY24" fmla="*/ 2780004 h 3624606"/>
              <a:gd name="connsiteX25" fmla="*/ 75423 w 513703"/>
              <a:gd name="connsiteY25" fmla="*/ 2780004 h 3624606"/>
              <a:gd name="connsiteX26" fmla="*/ 150846 w 513703"/>
              <a:gd name="connsiteY26" fmla="*/ 2855427 h 3624606"/>
              <a:gd name="connsiteX27" fmla="*/ 75423 w 513703"/>
              <a:gd name="connsiteY27" fmla="*/ 2930850 h 3624606"/>
              <a:gd name="connsiteX28" fmla="*/ 0 w 513703"/>
              <a:gd name="connsiteY28" fmla="*/ 2855427 h 3624606"/>
              <a:gd name="connsiteX29" fmla="*/ 75423 w 513703"/>
              <a:gd name="connsiteY29" fmla="*/ 2780004 h 3624606"/>
              <a:gd name="connsiteX30" fmla="*/ 438280 w 513703"/>
              <a:gd name="connsiteY30" fmla="*/ 2433126 h 3624606"/>
              <a:gd name="connsiteX31" fmla="*/ 513703 w 513703"/>
              <a:gd name="connsiteY31" fmla="*/ 2508549 h 3624606"/>
              <a:gd name="connsiteX32" fmla="*/ 438280 w 513703"/>
              <a:gd name="connsiteY32" fmla="*/ 2583972 h 3624606"/>
              <a:gd name="connsiteX33" fmla="*/ 362857 w 513703"/>
              <a:gd name="connsiteY33" fmla="*/ 2508549 h 3624606"/>
              <a:gd name="connsiteX34" fmla="*/ 438280 w 513703"/>
              <a:gd name="connsiteY34" fmla="*/ 2433126 h 3624606"/>
              <a:gd name="connsiteX35" fmla="*/ 75423 w 513703"/>
              <a:gd name="connsiteY35" fmla="*/ 2433126 h 3624606"/>
              <a:gd name="connsiteX36" fmla="*/ 150846 w 513703"/>
              <a:gd name="connsiteY36" fmla="*/ 2508549 h 3624606"/>
              <a:gd name="connsiteX37" fmla="*/ 75423 w 513703"/>
              <a:gd name="connsiteY37" fmla="*/ 2583972 h 3624606"/>
              <a:gd name="connsiteX38" fmla="*/ 0 w 513703"/>
              <a:gd name="connsiteY38" fmla="*/ 2508549 h 3624606"/>
              <a:gd name="connsiteX39" fmla="*/ 75423 w 513703"/>
              <a:gd name="connsiteY39" fmla="*/ 2433126 h 3624606"/>
              <a:gd name="connsiteX40" fmla="*/ 438280 w 513703"/>
              <a:gd name="connsiteY40" fmla="*/ 2086248 h 3624606"/>
              <a:gd name="connsiteX41" fmla="*/ 513703 w 513703"/>
              <a:gd name="connsiteY41" fmla="*/ 2161671 h 3624606"/>
              <a:gd name="connsiteX42" fmla="*/ 438280 w 513703"/>
              <a:gd name="connsiteY42" fmla="*/ 2237094 h 3624606"/>
              <a:gd name="connsiteX43" fmla="*/ 362857 w 513703"/>
              <a:gd name="connsiteY43" fmla="*/ 2161671 h 3624606"/>
              <a:gd name="connsiteX44" fmla="*/ 438280 w 513703"/>
              <a:gd name="connsiteY44" fmla="*/ 2086248 h 3624606"/>
              <a:gd name="connsiteX45" fmla="*/ 75423 w 513703"/>
              <a:gd name="connsiteY45" fmla="*/ 2086248 h 3624606"/>
              <a:gd name="connsiteX46" fmla="*/ 150846 w 513703"/>
              <a:gd name="connsiteY46" fmla="*/ 2161671 h 3624606"/>
              <a:gd name="connsiteX47" fmla="*/ 75423 w 513703"/>
              <a:gd name="connsiteY47" fmla="*/ 2237094 h 3624606"/>
              <a:gd name="connsiteX48" fmla="*/ 0 w 513703"/>
              <a:gd name="connsiteY48" fmla="*/ 2161671 h 3624606"/>
              <a:gd name="connsiteX49" fmla="*/ 75423 w 513703"/>
              <a:gd name="connsiteY49" fmla="*/ 2086248 h 3624606"/>
              <a:gd name="connsiteX50" fmla="*/ 438280 w 513703"/>
              <a:gd name="connsiteY50" fmla="*/ 1734390 h 3624606"/>
              <a:gd name="connsiteX51" fmla="*/ 513703 w 513703"/>
              <a:gd name="connsiteY51" fmla="*/ 1809813 h 3624606"/>
              <a:gd name="connsiteX52" fmla="*/ 513200 w 513703"/>
              <a:gd name="connsiteY52" fmla="*/ 1812303 h 3624606"/>
              <a:gd name="connsiteX53" fmla="*/ 513703 w 513703"/>
              <a:gd name="connsiteY53" fmla="*/ 1814793 h 3624606"/>
              <a:gd name="connsiteX54" fmla="*/ 438280 w 513703"/>
              <a:gd name="connsiteY54" fmla="*/ 1890216 h 3624606"/>
              <a:gd name="connsiteX55" fmla="*/ 362857 w 513703"/>
              <a:gd name="connsiteY55" fmla="*/ 1814793 h 3624606"/>
              <a:gd name="connsiteX56" fmla="*/ 363360 w 513703"/>
              <a:gd name="connsiteY56" fmla="*/ 1812303 h 3624606"/>
              <a:gd name="connsiteX57" fmla="*/ 362857 w 513703"/>
              <a:gd name="connsiteY57" fmla="*/ 1809813 h 3624606"/>
              <a:gd name="connsiteX58" fmla="*/ 438280 w 513703"/>
              <a:gd name="connsiteY58" fmla="*/ 1734390 h 3624606"/>
              <a:gd name="connsiteX59" fmla="*/ 75423 w 513703"/>
              <a:gd name="connsiteY59" fmla="*/ 1734390 h 3624606"/>
              <a:gd name="connsiteX60" fmla="*/ 150846 w 513703"/>
              <a:gd name="connsiteY60" fmla="*/ 1809813 h 3624606"/>
              <a:gd name="connsiteX61" fmla="*/ 150343 w 513703"/>
              <a:gd name="connsiteY61" fmla="*/ 1812303 h 3624606"/>
              <a:gd name="connsiteX62" fmla="*/ 150846 w 513703"/>
              <a:gd name="connsiteY62" fmla="*/ 1814793 h 3624606"/>
              <a:gd name="connsiteX63" fmla="*/ 75423 w 513703"/>
              <a:gd name="connsiteY63" fmla="*/ 1890216 h 3624606"/>
              <a:gd name="connsiteX64" fmla="*/ 0 w 513703"/>
              <a:gd name="connsiteY64" fmla="*/ 1814793 h 3624606"/>
              <a:gd name="connsiteX65" fmla="*/ 503 w 513703"/>
              <a:gd name="connsiteY65" fmla="*/ 1812303 h 3624606"/>
              <a:gd name="connsiteX66" fmla="*/ 0 w 513703"/>
              <a:gd name="connsiteY66" fmla="*/ 1809813 h 3624606"/>
              <a:gd name="connsiteX67" fmla="*/ 75423 w 513703"/>
              <a:gd name="connsiteY67" fmla="*/ 1734390 h 3624606"/>
              <a:gd name="connsiteX68" fmla="*/ 438280 w 513703"/>
              <a:gd name="connsiteY68" fmla="*/ 1387512 h 3624606"/>
              <a:gd name="connsiteX69" fmla="*/ 513703 w 513703"/>
              <a:gd name="connsiteY69" fmla="*/ 1462935 h 3624606"/>
              <a:gd name="connsiteX70" fmla="*/ 438280 w 513703"/>
              <a:gd name="connsiteY70" fmla="*/ 1538358 h 3624606"/>
              <a:gd name="connsiteX71" fmla="*/ 362857 w 513703"/>
              <a:gd name="connsiteY71" fmla="*/ 1462935 h 3624606"/>
              <a:gd name="connsiteX72" fmla="*/ 438280 w 513703"/>
              <a:gd name="connsiteY72" fmla="*/ 1387512 h 3624606"/>
              <a:gd name="connsiteX73" fmla="*/ 75423 w 513703"/>
              <a:gd name="connsiteY73" fmla="*/ 1387512 h 3624606"/>
              <a:gd name="connsiteX74" fmla="*/ 150846 w 513703"/>
              <a:gd name="connsiteY74" fmla="*/ 1462935 h 3624606"/>
              <a:gd name="connsiteX75" fmla="*/ 75423 w 513703"/>
              <a:gd name="connsiteY75" fmla="*/ 1538358 h 3624606"/>
              <a:gd name="connsiteX76" fmla="*/ 0 w 513703"/>
              <a:gd name="connsiteY76" fmla="*/ 1462935 h 3624606"/>
              <a:gd name="connsiteX77" fmla="*/ 75423 w 513703"/>
              <a:gd name="connsiteY77" fmla="*/ 1387512 h 3624606"/>
              <a:gd name="connsiteX78" fmla="*/ 75423 w 513703"/>
              <a:gd name="connsiteY78" fmla="*/ 1040634 h 3624606"/>
              <a:gd name="connsiteX79" fmla="*/ 150846 w 513703"/>
              <a:gd name="connsiteY79" fmla="*/ 1116057 h 3624606"/>
              <a:gd name="connsiteX80" fmla="*/ 75423 w 513703"/>
              <a:gd name="connsiteY80" fmla="*/ 1191480 h 3624606"/>
              <a:gd name="connsiteX81" fmla="*/ 0 w 513703"/>
              <a:gd name="connsiteY81" fmla="*/ 1116057 h 3624606"/>
              <a:gd name="connsiteX82" fmla="*/ 75423 w 513703"/>
              <a:gd name="connsiteY82" fmla="*/ 1040634 h 3624606"/>
              <a:gd name="connsiteX83" fmla="*/ 438280 w 513703"/>
              <a:gd name="connsiteY83" fmla="*/ 1040634 h 3624606"/>
              <a:gd name="connsiteX84" fmla="*/ 513703 w 513703"/>
              <a:gd name="connsiteY84" fmla="*/ 1116057 h 3624606"/>
              <a:gd name="connsiteX85" fmla="*/ 438280 w 513703"/>
              <a:gd name="connsiteY85" fmla="*/ 1191480 h 3624606"/>
              <a:gd name="connsiteX86" fmla="*/ 362857 w 513703"/>
              <a:gd name="connsiteY86" fmla="*/ 1116057 h 3624606"/>
              <a:gd name="connsiteX87" fmla="*/ 438280 w 513703"/>
              <a:gd name="connsiteY87" fmla="*/ 1040634 h 3624606"/>
              <a:gd name="connsiteX88" fmla="*/ 438280 w 513703"/>
              <a:gd name="connsiteY88" fmla="*/ 693756 h 3624606"/>
              <a:gd name="connsiteX89" fmla="*/ 513703 w 513703"/>
              <a:gd name="connsiteY89" fmla="*/ 769179 h 3624606"/>
              <a:gd name="connsiteX90" fmla="*/ 438280 w 513703"/>
              <a:gd name="connsiteY90" fmla="*/ 844602 h 3624606"/>
              <a:gd name="connsiteX91" fmla="*/ 362857 w 513703"/>
              <a:gd name="connsiteY91" fmla="*/ 769179 h 3624606"/>
              <a:gd name="connsiteX92" fmla="*/ 438280 w 513703"/>
              <a:gd name="connsiteY92" fmla="*/ 693756 h 3624606"/>
              <a:gd name="connsiteX93" fmla="*/ 75423 w 513703"/>
              <a:gd name="connsiteY93" fmla="*/ 693756 h 3624606"/>
              <a:gd name="connsiteX94" fmla="*/ 150846 w 513703"/>
              <a:gd name="connsiteY94" fmla="*/ 769179 h 3624606"/>
              <a:gd name="connsiteX95" fmla="*/ 75423 w 513703"/>
              <a:gd name="connsiteY95" fmla="*/ 844602 h 3624606"/>
              <a:gd name="connsiteX96" fmla="*/ 0 w 513703"/>
              <a:gd name="connsiteY96" fmla="*/ 769179 h 3624606"/>
              <a:gd name="connsiteX97" fmla="*/ 75423 w 513703"/>
              <a:gd name="connsiteY97" fmla="*/ 693756 h 3624606"/>
              <a:gd name="connsiteX98" fmla="*/ 75423 w 513703"/>
              <a:gd name="connsiteY98" fmla="*/ 346879 h 3624606"/>
              <a:gd name="connsiteX99" fmla="*/ 150846 w 513703"/>
              <a:gd name="connsiteY99" fmla="*/ 422302 h 3624606"/>
              <a:gd name="connsiteX100" fmla="*/ 75423 w 513703"/>
              <a:gd name="connsiteY100" fmla="*/ 497724 h 3624606"/>
              <a:gd name="connsiteX101" fmla="*/ 0 w 513703"/>
              <a:gd name="connsiteY101" fmla="*/ 422302 h 3624606"/>
              <a:gd name="connsiteX102" fmla="*/ 75423 w 513703"/>
              <a:gd name="connsiteY102" fmla="*/ 346879 h 3624606"/>
              <a:gd name="connsiteX103" fmla="*/ 438280 w 513703"/>
              <a:gd name="connsiteY103" fmla="*/ 346878 h 3624606"/>
              <a:gd name="connsiteX104" fmla="*/ 513703 w 513703"/>
              <a:gd name="connsiteY104" fmla="*/ 422301 h 3624606"/>
              <a:gd name="connsiteX105" fmla="*/ 438280 w 513703"/>
              <a:gd name="connsiteY105" fmla="*/ 497724 h 3624606"/>
              <a:gd name="connsiteX106" fmla="*/ 362857 w 513703"/>
              <a:gd name="connsiteY106" fmla="*/ 422301 h 3624606"/>
              <a:gd name="connsiteX107" fmla="*/ 438280 w 513703"/>
              <a:gd name="connsiteY107" fmla="*/ 346878 h 3624606"/>
              <a:gd name="connsiteX108" fmla="*/ 75423 w 513703"/>
              <a:gd name="connsiteY108" fmla="*/ 1 h 3624606"/>
              <a:gd name="connsiteX109" fmla="*/ 150846 w 513703"/>
              <a:gd name="connsiteY109" fmla="*/ 75424 h 3624606"/>
              <a:gd name="connsiteX110" fmla="*/ 75423 w 513703"/>
              <a:gd name="connsiteY110" fmla="*/ 150847 h 3624606"/>
              <a:gd name="connsiteX111" fmla="*/ 0 w 513703"/>
              <a:gd name="connsiteY111" fmla="*/ 75424 h 3624606"/>
              <a:gd name="connsiteX112" fmla="*/ 75423 w 513703"/>
              <a:gd name="connsiteY112" fmla="*/ 1 h 3624606"/>
              <a:gd name="connsiteX113" fmla="*/ 438280 w 513703"/>
              <a:gd name="connsiteY113" fmla="*/ 0 h 3624606"/>
              <a:gd name="connsiteX114" fmla="*/ 513703 w 513703"/>
              <a:gd name="connsiteY114" fmla="*/ 75424 h 3624606"/>
              <a:gd name="connsiteX115" fmla="*/ 438280 w 513703"/>
              <a:gd name="connsiteY115" fmla="*/ 150847 h 3624606"/>
              <a:gd name="connsiteX116" fmla="*/ 362857 w 513703"/>
              <a:gd name="connsiteY116" fmla="*/ 75424 h 3624606"/>
              <a:gd name="connsiteX117" fmla="*/ 438280 w 513703"/>
              <a:gd name="connsiteY117" fmla="*/ 0 h 3624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3703" h="3624606">
                <a:moveTo>
                  <a:pt x="438280" y="3473760"/>
                </a:moveTo>
                <a:cubicBezTo>
                  <a:pt x="479935" y="3473760"/>
                  <a:pt x="513703" y="3507528"/>
                  <a:pt x="513703" y="3549183"/>
                </a:cubicBezTo>
                <a:cubicBezTo>
                  <a:pt x="513703" y="3590838"/>
                  <a:pt x="479935" y="3624606"/>
                  <a:pt x="438280" y="3624606"/>
                </a:cubicBezTo>
                <a:cubicBezTo>
                  <a:pt x="396625" y="3624606"/>
                  <a:pt x="362857" y="3590838"/>
                  <a:pt x="362857" y="3549183"/>
                </a:cubicBezTo>
                <a:cubicBezTo>
                  <a:pt x="362857" y="3507528"/>
                  <a:pt x="396625" y="3473760"/>
                  <a:pt x="438280" y="3473760"/>
                </a:cubicBezTo>
                <a:close/>
                <a:moveTo>
                  <a:pt x="75423" y="3473760"/>
                </a:moveTo>
                <a:cubicBezTo>
                  <a:pt x="117078" y="3473760"/>
                  <a:pt x="150846" y="3507528"/>
                  <a:pt x="150846" y="3549183"/>
                </a:cubicBezTo>
                <a:cubicBezTo>
                  <a:pt x="150846" y="3590838"/>
                  <a:pt x="117078" y="3624606"/>
                  <a:pt x="75423" y="3624606"/>
                </a:cubicBezTo>
                <a:cubicBezTo>
                  <a:pt x="33768" y="3624606"/>
                  <a:pt x="0" y="3590838"/>
                  <a:pt x="0" y="3549183"/>
                </a:cubicBezTo>
                <a:cubicBezTo>
                  <a:pt x="0" y="3507528"/>
                  <a:pt x="33768" y="3473760"/>
                  <a:pt x="75423" y="3473760"/>
                </a:cubicBezTo>
                <a:close/>
                <a:moveTo>
                  <a:pt x="438280" y="3126882"/>
                </a:moveTo>
                <a:cubicBezTo>
                  <a:pt x="479935" y="3126882"/>
                  <a:pt x="513703" y="3160650"/>
                  <a:pt x="513703" y="3202305"/>
                </a:cubicBezTo>
                <a:cubicBezTo>
                  <a:pt x="513703" y="3243960"/>
                  <a:pt x="479935" y="3277728"/>
                  <a:pt x="438280" y="3277728"/>
                </a:cubicBezTo>
                <a:cubicBezTo>
                  <a:pt x="396625" y="3277728"/>
                  <a:pt x="362857" y="3243960"/>
                  <a:pt x="362857" y="3202305"/>
                </a:cubicBezTo>
                <a:cubicBezTo>
                  <a:pt x="362857" y="3160650"/>
                  <a:pt x="396625" y="3126882"/>
                  <a:pt x="438280" y="3126882"/>
                </a:cubicBezTo>
                <a:close/>
                <a:moveTo>
                  <a:pt x="75423" y="3126882"/>
                </a:moveTo>
                <a:cubicBezTo>
                  <a:pt x="117078" y="3126882"/>
                  <a:pt x="150846" y="3160650"/>
                  <a:pt x="150846" y="3202305"/>
                </a:cubicBezTo>
                <a:cubicBezTo>
                  <a:pt x="150846" y="3243960"/>
                  <a:pt x="117078" y="3277728"/>
                  <a:pt x="75423" y="3277728"/>
                </a:cubicBezTo>
                <a:cubicBezTo>
                  <a:pt x="33768" y="3277728"/>
                  <a:pt x="0" y="3243960"/>
                  <a:pt x="0" y="3202305"/>
                </a:cubicBezTo>
                <a:cubicBezTo>
                  <a:pt x="0" y="3160650"/>
                  <a:pt x="33768" y="3126882"/>
                  <a:pt x="75423" y="3126882"/>
                </a:cubicBezTo>
                <a:close/>
                <a:moveTo>
                  <a:pt x="438280" y="2780004"/>
                </a:moveTo>
                <a:cubicBezTo>
                  <a:pt x="479935" y="2780004"/>
                  <a:pt x="513703" y="2813772"/>
                  <a:pt x="513703" y="2855427"/>
                </a:cubicBezTo>
                <a:cubicBezTo>
                  <a:pt x="513703" y="2897082"/>
                  <a:pt x="479935" y="2930850"/>
                  <a:pt x="438280" y="2930850"/>
                </a:cubicBezTo>
                <a:cubicBezTo>
                  <a:pt x="396625" y="2930850"/>
                  <a:pt x="362857" y="2897082"/>
                  <a:pt x="362857" y="2855427"/>
                </a:cubicBezTo>
                <a:cubicBezTo>
                  <a:pt x="362857" y="2813772"/>
                  <a:pt x="396625" y="2780004"/>
                  <a:pt x="438280" y="2780004"/>
                </a:cubicBezTo>
                <a:close/>
                <a:moveTo>
                  <a:pt x="75423" y="2780004"/>
                </a:moveTo>
                <a:cubicBezTo>
                  <a:pt x="117078" y="2780004"/>
                  <a:pt x="150846" y="2813772"/>
                  <a:pt x="150846" y="2855427"/>
                </a:cubicBezTo>
                <a:cubicBezTo>
                  <a:pt x="150846" y="2897082"/>
                  <a:pt x="117078" y="2930850"/>
                  <a:pt x="75423" y="2930850"/>
                </a:cubicBezTo>
                <a:cubicBezTo>
                  <a:pt x="33768" y="2930850"/>
                  <a:pt x="0" y="2897082"/>
                  <a:pt x="0" y="2855427"/>
                </a:cubicBezTo>
                <a:cubicBezTo>
                  <a:pt x="0" y="2813772"/>
                  <a:pt x="33768" y="2780004"/>
                  <a:pt x="75423" y="2780004"/>
                </a:cubicBezTo>
                <a:close/>
                <a:moveTo>
                  <a:pt x="438280" y="2433126"/>
                </a:moveTo>
                <a:cubicBezTo>
                  <a:pt x="479935" y="2433126"/>
                  <a:pt x="513703" y="2466894"/>
                  <a:pt x="513703" y="2508549"/>
                </a:cubicBezTo>
                <a:cubicBezTo>
                  <a:pt x="513703" y="2550204"/>
                  <a:pt x="479935" y="2583972"/>
                  <a:pt x="438280" y="2583972"/>
                </a:cubicBezTo>
                <a:cubicBezTo>
                  <a:pt x="396625" y="2583972"/>
                  <a:pt x="362857" y="2550204"/>
                  <a:pt x="362857" y="2508549"/>
                </a:cubicBezTo>
                <a:cubicBezTo>
                  <a:pt x="362857" y="2466894"/>
                  <a:pt x="396625" y="2433126"/>
                  <a:pt x="438280" y="2433126"/>
                </a:cubicBezTo>
                <a:close/>
                <a:moveTo>
                  <a:pt x="75423" y="2433126"/>
                </a:moveTo>
                <a:cubicBezTo>
                  <a:pt x="117078" y="2433126"/>
                  <a:pt x="150846" y="2466894"/>
                  <a:pt x="150846" y="2508549"/>
                </a:cubicBezTo>
                <a:cubicBezTo>
                  <a:pt x="150846" y="2550204"/>
                  <a:pt x="117078" y="2583972"/>
                  <a:pt x="75423" y="2583972"/>
                </a:cubicBezTo>
                <a:cubicBezTo>
                  <a:pt x="33768" y="2583972"/>
                  <a:pt x="0" y="2550204"/>
                  <a:pt x="0" y="2508549"/>
                </a:cubicBezTo>
                <a:cubicBezTo>
                  <a:pt x="0" y="2466894"/>
                  <a:pt x="33768" y="2433126"/>
                  <a:pt x="75423" y="2433126"/>
                </a:cubicBezTo>
                <a:close/>
                <a:moveTo>
                  <a:pt x="438280" y="2086248"/>
                </a:moveTo>
                <a:cubicBezTo>
                  <a:pt x="479935" y="2086248"/>
                  <a:pt x="513703" y="2120016"/>
                  <a:pt x="513703" y="2161671"/>
                </a:cubicBezTo>
                <a:cubicBezTo>
                  <a:pt x="513703" y="2203326"/>
                  <a:pt x="479935" y="2237094"/>
                  <a:pt x="438280" y="2237094"/>
                </a:cubicBezTo>
                <a:cubicBezTo>
                  <a:pt x="396625" y="2237094"/>
                  <a:pt x="362857" y="2203326"/>
                  <a:pt x="362857" y="2161671"/>
                </a:cubicBezTo>
                <a:cubicBezTo>
                  <a:pt x="362857" y="2120016"/>
                  <a:pt x="396625" y="2086248"/>
                  <a:pt x="438280" y="2086248"/>
                </a:cubicBezTo>
                <a:close/>
                <a:moveTo>
                  <a:pt x="75423" y="2086248"/>
                </a:moveTo>
                <a:cubicBezTo>
                  <a:pt x="117078" y="2086248"/>
                  <a:pt x="150846" y="2120016"/>
                  <a:pt x="150846" y="2161671"/>
                </a:cubicBezTo>
                <a:cubicBezTo>
                  <a:pt x="150846" y="2203326"/>
                  <a:pt x="117078" y="2237094"/>
                  <a:pt x="75423" y="2237094"/>
                </a:cubicBezTo>
                <a:cubicBezTo>
                  <a:pt x="33768" y="2237094"/>
                  <a:pt x="0" y="2203326"/>
                  <a:pt x="0" y="2161671"/>
                </a:cubicBezTo>
                <a:cubicBezTo>
                  <a:pt x="0" y="2120016"/>
                  <a:pt x="33768" y="2086248"/>
                  <a:pt x="75423" y="2086248"/>
                </a:cubicBezTo>
                <a:close/>
                <a:moveTo>
                  <a:pt x="438280" y="1734390"/>
                </a:moveTo>
                <a:cubicBezTo>
                  <a:pt x="479935" y="1734390"/>
                  <a:pt x="513703" y="1768158"/>
                  <a:pt x="513703" y="1809813"/>
                </a:cubicBezTo>
                <a:lnTo>
                  <a:pt x="513200" y="1812303"/>
                </a:lnTo>
                <a:lnTo>
                  <a:pt x="513703" y="1814793"/>
                </a:lnTo>
                <a:cubicBezTo>
                  <a:pt x="513703" y="1856448"/>
                  <a:pt x="479935" y="1890216"/>
                  <a:pt x="438280" y="1890216"/>
                </a:cubicBezTo>
                <a:cubicBezTo>
                  <a:pt x="396625" y="1890216"/>
                  <a:pt x="362857" y="1856448"/>
                  <a:pt x="362857" y="1814793"/>
                </a:cubicBezTo>
                <a:lnTo>
                  <a:pt x="363360" y="1812303"/>
                </a:lnTo>
                <a:lnTo>
                  <a:pt x="362857" y="1809813"/>
                </a:lnTo>
                <a:cubicBezTo>
                  <a:pt x="362857" y="1768158"/>
                  <a:pt x="396625" y="1734390"/>
                  <a:pt x="438280" y="1734390"/>
                </a:cubicBezTo>
                <a:close/>
                <a:moveTo>
                  <a:pt x="75423" y="1734390"/>
                </a:moveTo>
                <a:cubicBezTo>
                  <a:pt x="117078" y="1734390"/>
                  <a:pt x="150846" y="1768158"/>
                  <a:pt x="150846" y="1809813"/>
                </a:cubicBezTo>
                <a:lnTo>
                  <a:pt x="150343" y="1812303"/>
                </a:lnTo>
                <a:lnTo>
                  <a:pt x="150846" y="1814793"/>
                </a:lnTo>
                <a:cubicBezTo>
                  <a:pt x="150846" y="1856448"/>
                  <a:pt x="117078" y="1890216"/>
                  <a:pt x="75423" y="1890216"/>
                </a:cubicBezTo>
                <a:cubicBezTo>
                  <a:pt x="33768" y="1890216"/>
                  <a:pt x="0" y="1856448"/>
                  <a:pt x="0" y="1814793"/>
                </a:cubicBezTo>
                <a:lnTo>
                  <a:pt x="503" y="1812303"/>
                </a:lnTo>
                <a:lnTo>
                  <a:pt x="0" y="1809813"/>
                </a:lnTo>
                <a:cubicBezTo>
                  <a:pt x="0" y="1768158"/>
                  <a:pt x="33768" y="1734390"/>
                  <a:pt x="75423" y="1734390"/>
                </a:cubicBezTo>
                <a:close/>
                <a:moveTo>
                  <a:pt x="438280" y="1387512"/>
                </a:moveTo>
                <a:cubicBezTo>
                  <a:pt x="479935" y="1387512"/>
                  <a:pt x="513703" y="1421280"/>
                  <a:pt x="513703" y="1462935"/>
                </a:cubicBezTo>
                <a:cubicBezTo>
                  <a:pt x="513703" y="1504590"/>
                  <a:pt x="479935" y="1538358"/>
                  <a:pt x="438280" y="1538358"/>
                </a:cubicBezTo>
                <a:cubicBezTo>
                  <a:pt x="396625" y="1538358"/>
                  <a:pt x="362857" y="1504590"/>
                  <a:pt x="362857" y="1462935"/>
                </a:cubicBezTo>
                <a:cubicBezTo>
                  <a:pt x="362857" y="1421280"/>
                  <a:pt x="396625" y="1387512"/>
                  <a:pt x="438280" y="1387512"/>
                </a:cubicBezTo>
                <a:close/>
                <a:moveTo>
                  <a:pt x="75423" y="1387512"/>
                </a:moveTo>
                <a:cubicBezTo>
                  <a:pt x="117078" y="1387512"/>
                  <a:pt x="150846" y="1421280"/>
                  <a:pt x="150846" y="1462935"/>
                </a:cubicBezTo>
                <a:cubicBezTo>
                  <a:pt x="150846" y="1504590"/>
                  <a:pt x="117078" y="1538358"/>
                  <a:pt x="75423" y="1538358"/>
                </a:cubicBezTo>
                <a:cubicBezTo>
                  <a:pt x="33768" y="1538358"/>
                  <a:pt x="0" y="1504590"/>
                  <a:pt x="0" y="1462935"/>
                </a:cubicBezTo>
                <a:cubicBezTo>
                  <a:pt x="0" y="1421280"/>
                  <a:pt x="33768" y="1387512"/>
                  <a:pt x="75423" y="1387512"/>
                </a:cubicBezTo>
                <a:close/>
                <a:moveTo>
                  <a:pt x="75423" y="1040634"/>
                </a:moveTo>
                <a:cubicBezTo>
                  <a:pt x="117078" y="1040634"/>
                  <a:pt x="150846" y="1074403"/>
                  <a:pt x="150846" y="1116057"/>
                </a:cubicBezTo>
                <a:cubicBezTo>
                  <a:pt x="150846" y="1157713"/>
                  <a:pt x="117078" y="1191480"/>
                  <a:pt x="75423" y="1191480"/>
                </a:cubicBezTo>
                <a:cubicBezTo>
                  <a:pt x="33768" y="1191480"/>
                  <a:pt x="0" y="1157713"/>
                  <a:pt x="0" y="1116057"/>
                </a:cubicBezTo>
                <a:cubicBezTo>
                  <a:pt x="0" y="1074403"/>
                  <a:pt x="33768" y="1040634"/>
                  <a:pt x="75423" y="1040634"/>
                </a:cubicBezTo>
                <a:close/>
                <a:moveTo>
                  <a:pt x="438280" y="1040634"/>
                </a:moveTo>
                <a:cubicBezTo>
                  <a:pt x="479935" y="1040634"/>
                  <a:pt x="513703" y="1074402"/>
                  <a:pt x="513703" y="1116057"/>
                </a:cubicBezTo>
                <a:cubicBezTo>
                  <a:pt x="513703" y="1157712"/>
                  <a:pt x="479935" y="1191480"/>
                  <a:pt x="438280" y="1191480"/>
                </a:cubicBezTo>
                <a:cubicBezTo>
                  <a:pt x="396625" y="1191480"/>
                  <a:pt x="362857" y="1157712"/>
                  <a:pt x="362857" y="1116057"/>
                </a:cubicBezTo>
                <a:cubicBezTo>
                  <a:pt x="362857" y="1074402"/>
                  <a:pt x="396625" y="1040634"/>
                  <a:pt x="438280" y="1040634"/>
                </a:cubicBezTo>
                <a:close/>
                <a:moveTo>
                  <a:pt x="438280" y="693756"/>
                </a:moveTo>
                <a:cubicBezTo>
                  <a:pt x="479935" y="693756"/>
                  <a:pt x="513703" y="727524"/>
                  <a:pt x="513703" y="769179"/>
                </a:cubicBezTo>
                <a:cubicBezTo>
                  <a:pt x="513703" y="810834"/>
                  <a:pt x="479935" y="844602"/>
                  <a:pt x="438280" y="844602"/>
                </a:cubicBezTo>
                <a:cubicBezTo>
                  <a:pt x="396625" y="844602"/>
                  <a:pt x="362857" y="810834"/>
                  <a:pt x="362857" y="769179"/>
                </a:cubicBezTo>
                <a:cubicBezTo>
                  <a:pt x="362857" y="727524"/>
                  <a:pt x="396625" y="693756"/>
                  <a:pt x="438280" y="693756"/>
                </a:cubicBezTo>
                <a:close/>
                <a:moveTo>
                  <a:pt x="75423" y="693756"/>
                </a:moveTo>
                <a:cubicBezTo>
                  <a:pt x="117078" y="693756"/>
                  <a:pt x="150846" y="727525"/>
                  <a:pt x="150846" y="769179"/>
                </a:cubicBezTo>
                <a:cubicBezTo>
                  <a:pt x="150846" y="810834"/>
                  <a:pt x="117078" y="844602"/>
                  <a:pt x="75423" y="844602"/>
                </a:cubicBezTo>
                <a:cubicBezTo>
                  <a:pt x="33768" y="844602"/>
                  <a:pt x="0" y="810834"/>
                  <a:pt x="0" y="769179"/>
                </a:cubicBezTo>
                <a:cubicBezTo>
                  <a:pt x="0" y="727525"/>
                  <a:pt x="33768" y="693756"/>
                  <a:pt x="75423" y="693756"/>
                </a:cubicBezTo>
                <a:close/>
                <a:moveTo>
                  <a:pt x="75423" y="346879"/>
                </a:moveTo>
                <a:cubicBezTo>
                  <a:pt x="117078" y="346879"/>
                  <a:pt x="150846" y="380647"/>
                  <a:pt x="150846" y="422302"/>
                </a:cubicBezTo>
                <a:cubicBezTo>
                  <a:pt x="150846" y="463957"/>
                  <a:pt x="117078" y="497724"/>
                  <a:pt x="75423" y="497724"/>
                </a:cubicBezTo>
                <a:cubicBezTo>
                  <a:pt x="33768" y="497724"/>
                  <a:pt x="0" y="463957"/>
                  <a:pt x="0" y="422302"/>
                </a:cubicBezTo>
                <a:cubicBezTo>
                  <a:pt x="0" y="380647"/>
                  <a:pt x="33768" y="346879"/>
                  <a:pt x="75423" y="346879"/>
                </a:cubicBezTo>
                <a:close/>
                <a:moveTo>
                  <a:pt x="438280" y="346878"/>
                </a:moveTo>
                <a:cubicBezTo>
                  <a:pt x="479935" y="346878"/>
                  <a:pt x="513703" y="380646"/>
                  <a:pt x="513703" y="422301"/>
                </a:cubicBezTo>
                <a:cubicBezTo>
                  <a:pt x="513703" y="463956"/>
                  <a:pt x="479935" y="497724"/>
                  <a:pt x="438280" y="497724"/>
                </a:cubicBezTo>
                <a:cubicBezTo>
                  <a:pt x="396625" y="497724"/>
                  <a:pt x="362857" y="463956"/>
                  <a:pt x="362857" y="422301"/>
                </a:cubicBezTo>
                <a:cubicBezTo>
                  <a:pt x="362857" y="380646"/>
                  <a:pt x="396625" y="346878"/>
                  <a:pt x="438280" y="346878"/>
                </a:cubicBezTo>
                <a:close/>
                <a:moveTo>
                  <a:pt x="75423" y="1"/>
                </a:moveTo>
                <a:cubicBezTo>
                  <a:pt x="117078" y="1"/>
                  <a:pt x="150846" y="33769"/>
                  <a:pt x="150846" y="75424"/>
                </a:cubicBezTo>
                <a:cubicBezTo>
                  <a:pt x="150846" y="117079"/>
                  <a:pt x="117078" y="150847"/>
                  <a:pt x="75423" y="150847"/>
                </a:cubicBezTo>
                <a:cubicBezTo>
                  <a:pt x="33768" y="150847"/>
                  <a:pt x="0" y="117079"/>
                  <a:pt x="0" y="75424"/>
                </a:cubicBezTo>
                <a:cubicBezTo>
                  <a:pt x="0" y="33769"/>
                  <a:pt x="33768" y="1"/>
                  <a:pt x="75423" y="1"/>
                </a:cubicBezTo>
                <a:close/>
                <a:moveTo>
                  <a:pt x="438280" y="0"/>
                </a:moveTo>
                <a:cubicBezTo>
                  <a:pt x="479935" y="0"/>
                  <a:pt x="513703" y="33769"/>
                  <a:pt x="513703" y="75424"/>
                </a:cubicBezTo>
                <a:cubicBezTo>
                  <a:pt x="513703" y="117079"/>
                  <a:pt x="479935" y="150847"/>
                  <a:pt x="438280" y="150847"/>
                </a:cubicBezTo>
                <a:cubicBezTo>
                  <a:pt x="396625" y="150847"/>
                  <a:pt x="362857" y="117079"/>
                  <a:pt x="362857" y="75424"/>
                </a:cubicBezTo>
                <a:cubicBezTo>
                  <a:pt x="362857" y="33769"/>
                  <a:pt x="396625" y="0"/>
                  <a:pt x="438280" y="0"/>
                </a:cubicBezTo>
                <a:close/>
              </a:path>
            </a:pathLst>
          </a:custGeom>
          <a:gradFill>
            <a:gsLst>
              <a:gs pos="74000">
                <a:schemeClr val="accent2">
                  <a:alpha val="70000"/>
                </a:schemeClr>
              </a:gs>
              <a:gs pos="0">
                <a:schemeClr val="accent4">
                  <a:alpha val="70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5" name="图片 2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611186" y="488949"/>
            <a:ext cx="631826" cy="631826"/>
          </a:xfrm>
          <a:prstGeom prst="rect">
            <a:avLst/>
          </a:prstGeom>
        </p:spPr>
      </p:pic>
      <p:sp>
        <p:nvSpPr>
          <p:cNvPr id="11" name="矩形 10"/>
          <p:cNvSpPr/>
          <p:nvPr/>
        </p:nvSpPr>
        <p:spPr>
          <a:xfrm>
            <a:off x="1328773" y="589418"/>
            <a:ext cx="4527200" cy="430887"/>
          </a:xfrm>
          <a:prstGeom prst="rect">
            <a:avLst/>
          </a:prstGeom>
        </p:spPr>
        <p:txBody>
          <a:bodyPr wrap="none">
            <a:spAutoFit/>
          </a:bodyPr>
          <a:lstStyle/>
          <a:p>
            <a:pPr algn="ctr"/>
            <a:r>
              <a:rPr lang="zh-CN" altLang="en-US" sz="2200" dirty="0">
                <a:solidFill>
                  <a:schemeClr val="bg1"/>
                </a:solidFill>
                <a:sym typeface="+mn-ea"/>
              </a:rPr>
              <a:t>大数据教材《</a:t>
            </a:r>
            <a:r>
              <a:rPr lang="en-US" altLang="zh-CN" sz="2200" dirty="0" err="1">
                <a:solidFill>
                  <a:schemeClr val="bg1"/>
                </a:solidFill>
                <a:sym typeface="+mn-ea"/>
              </a:rPr>
              <a:t>Redis</a:t>
            </a:r>
            <a:r>
              <a:rPr lang="en-US" altLang="zh-CN" sz="2200" dirty="0">
                <a:solidFill>
                  <a:schemeClr val="bg1"/>
                </a:solidFill>
                <a:sym typeface="+mn-ea"/>
              </a:rPr>
              <a:t> 6</a:t>
            </a:r>
            <a:r>
              <a:rPr lang="zh-CN" altLang="en-US" sz="2200" dirty="0">
                <a:solidFill>
                  <a:schemeClr val="bg1"/>
                </a:solidFill>
                <a:sym typeface="+mn-ea"/>
              </a:rPr>
              <a:t>开发与实战</a:t>
            </a:r>
            <a:r>
              <a:rPr lang="zh-CN" altLang="en-US" sz="2200" dirty="0" smtClean="0">
                <a:solidFill>
                  <a:schemeClr val="bg1"/>
                </a:solidFill>
                <a:sym typeface="+mn-ea"/>
              </a:rPr>
              <a:t>》</a:t>
            </a:r>
            <a:endParaRPr lang="zh-CN" altLang="en-US" sz="2200" b="1" dirty="0">
              <a:solidFill>
                <a:schemeClr val="accent2"/>
              </a:solidFill>
            </a:endParaRPr>
          </a:p>
        </p:txBody>
      </p:sp>
      <p:sp>
        <p:nvSpPr>
          <p:cNvPr id="17" name="矩形: 圆角 21"/>
          <p:cNvSpPr/>
          <p:nvPr/>
        </p:nvSpPr>
        <p:spPr>
          <a:xfrm>
            <a:off x="800099" y="4579447"/>
            <a:ext cx="4235540" cy="459272"/>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主讲</a:t>
            </a:r>
            <a:r>
              <a:rPr lang="zh-CN" altLang="en-US" b="1" dirty="0" smtClean="0">
                <a:solidFill>
                  <a:schemeClr val="tx1"/>
                </a:solidFill>
              </a:rPr>
              <a:t>：</a:t>
            </a:r>
            <a:r>
              <a:rPr lang="en-US" altLang="zh-CN" b="1" dirty="0">
                <a:solidFill>
                  <a:schemeClr val="tx1"/>
                </a:solidFill>
              </a:rPr>
              <a:t> XXX</a:t>
            </a:r>
            <a:r>
              <a:rPr lang="zh-CN" altLang="en-US" b="1" dirty="0" smtClean="0">
                <a:solidFill>
                  <a:schemeClr val="tx1"/>
                </a:solidFill>
              </a:rPr>
              <a:t>        </a:t>
            </a:r>
            <a:r>
              <a:rPr lang="zh-CN" altLang="en-US" b="1" dirty="0">
                <a:solidFill>
                  <a:schemeClr val="tx1"/>
                </a:solidFill>
              </a:rPr>
              <a:t>主审</a:t>
            </a:r>
            <a:r>
              <a:rPr lang="zh-CN" altLang="en-US" b="1" dirty="0" smtClean="0">
                <a:solidFill>
                  <a:schemeClr val="tx1"/>
                </a:solidFill>
              </a:rPr>
              <a:t>：</a:t>
            </a:r>
            <a:r>
              <a:rPr lang="en-US" altLang="zh-CN" b="1" dirty="0">
                <a:solidFill>
                  <a:schemeClr val="tx1"/>
                </a:solidFill>
              </a:rPr>
              <a:t> XXX</a:t>
            </a:r>
            <a:endParaRPr lang="zh-CN" altLang="en-US" b="1" dirty="0">
              <a:solidFill>
                <a:schemeClr val="tx1"/>
              </a:solidFill>
            </a:endParaRPr>
          </a:p>
        </p:txBody>
      </p:sp>
      <p:pic>
        <p:nvPicPr>
          <p:cNvPr id="12" name="图片 11"/>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9684121" y="5993053"/>
            <a:ext cx="2074491" cy="431799"/>
          </a:xfrm>
          <a:prstGeom prst="rect">
            <a:avLst/>
          </a:prstGeom>
        </p:spPr>
      </p:pic>
      <p:pic>
        <p:nvPicPr>
          <p:cNvPr id="3" name="图片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21194" y="938275"/>
            <a:ext cx="3353401" cy="4698348"/>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874075" y="252740"/>
            <a:ext cx="3518912" cy="523220"/>
          </a:xfrm>
          <a:prstGeom prst="rect">
            <a:avLst/>
          </a:prstGeom>
        </p:spPr>
        <p:txBody>
          <a:bodyPr wrap="none">
            <a:spAutoFit/>
          </a:bodyPr>
          <a:lstStyle/>
          <a:p>
            <a:r>
              <a:rPr lang="zh-CN" altLang="en-US" sz="2800" b="1" dirty="0" smtClean="0">
                <a:solidFill>
                  <a:schemeClr val="bg1"/>
                </a:solidFill>
              </a:rPr>
              <a:t>第</a:t>
            </a:r>
            <a:r>
              <a:rPr lang="en-US" altLang="zh-CN" sz="2800" b="1" dirty="0" smtClean="0">
                <a:solidFill>
                  <a:schemeClr val="bg1"/>
                </a:solidFill>
              </a:rPr>
              <a:t>5</a:t>
            </a:r>
            <a:r>
              <a:rPr lang="zh-CN" altLang="en-US" sz="2800" b="1" dirty="0" smtClean="0">
                <a:solidFill>
                  <a:schemeClr val="bg1"/>
                </a:solidFill>
              </a:rPr>
              <a:t>章</a:t>
            </a:r>
            <a:r>
              <a:rPr lang="en-US" altLang="zh-CN" sz="2800" b="1" dirty="0" err="1" smtClean="0">
                <a:solidFill>
                  <a:schemeClr val="bg1"/>
                </a:solidFill>
              </a:rPr>
              <a:t>Redis</a:t>
            </a:r>
            <a:r>
              <a:rPr lang="zh-CN" altLang="en-US" sz="2800" b="1" dirty="0" smtClean="0">
                <a:solidFill>
                  <a:schemeClr val="bg1"/>
                </a:solidFill>
              </a:rPr>
              <a:t>的持久化</a:t>
            </a:r>
            <a:endParaRPr lang="zh-CN" altLang="en-US" sz="2800" b="1" dirty="0">
              <a:solidFill>
                <a:schemeClr val="bg1"/>
              </a:solidFill>
            </a:endParaRPr>
          </a:p>
        </p:txBody>
      </p:sp>
      <p:graphicFrame>
        <p:nvGraphicFramePr>
          <p:cNvPr id="30" name="表格 29"/>
          <p:cNvGraphicFramePr/>
          <p:nvPr>
            <p:custDataLst>
              <p:tags r:id="rId1"/>
            </p:custDataLst>
            <p:extLst>
              <p:ext uri="{D42A27DB-BD31-4B8C-83A1-F6EECF244321}">
                <p14:modId xmlns:p14="http://schemas.microsoft.com/office/powerpoint/2010/main" val="1073660376"/>
              </p:ext>
            </p:extLst>
          </p:nvPr>
        </p:nvGraphicFramePr>
        <p:xfrm>
          <a:off x="462431" y="1634204"/>
          <a:ext cx="4173963" cy="4742553"/>
        </p:xfrm>
        <a:graphic>
          <a:graphicData uri="http://schemas.openxmlformats.org/drawingml/2006/table">
            <a:tbl>
              <a:tblPr firstRow="1" bandRow="1">
                <a:tableStyleId>{72833802-FEF1-4C79-8D5D-14CF1EAF98D9}</a:tableStyleId>
              </a:tblPr>
              <a:tblGrid>
                <a:gridCol w="1221105"/>
                <a:gridCol w="2952858"/>
              </a:tblGrid>
              <a:tr h="375974">
                <a:tc>
                  <a:txBody>
                    <a:bodyPr/>
                    <a:lstStyle/>
                    <a:p>
                      <a:pPr marL="71755" indent="0" algn="ctr">
                        <a:lnSpc>
                          <a:spcPct val="100000"/>
                        </a:lnSpc>
                        <a:spcBef>
                          <a:spcPts val="300"/>
                        </a:spcBef>
                        <a:spcAft>
                          <a:spcPts val="300"/>
                        </a:spcAft>
                        <a:buNone/>
                      </a:pPr>
                      <a:r>
                        <a:rPr lang="en-US" sz="2000" b="0" dirty="0">
                          <a:solidFill>
                            <a:schemeClr val="tx1"/>
                          </a:solidFill>
                          <a:latin typeface="微软雅黑 (正文)"/>
                        </a:rPr>
                        <a:t>第1章</a:t>
                      </a:r>
                      <a:endParaRPr lang="en-US" altLang="en-US" sz="2000" b="0" dirty="0">
                        <a:solidFill>
                          <a:schemeClr val="tx1"/>
                        </a:solidFill>
                        <a:latin typeface="微软雅黑 (正文)"/>
                        <a:ea typeface="华文楷体" panose="02010600040101010101" charset="-122"/>
                        <a:cs typeface="华文楷体" panose="02010600040101010101" charset="-122"/>
                      </a:endParaRPr>
                    </a:p>
                  </a:txBody>
                  <a:tcPr marL="98738" marR="98738" marT="0" marB="0" anchor="ctr">
                    <a:noFill/>
                  </a:tcPr>
                </a:tc>
                <a:tc>
                  <a:txBody>
                    <a:bodyPr/>
                    <a:lstStyle/>
                    <a:p>
                      <a:pPr marL="71755" indent="0" algn="l">
                        <a:lnSpc>
                          <a:spcPct val="100000"/>
                        </a:lnSpc>
                        <a:spcBef>
                          <a:spcPts val="300"/>
                        </a:spcBef>
                        <a:spcAft>
                          <a:spcPts val="300"/>
                        </a:spcAft>
                        <a:buNone/>
                      </a:pPr>
                      <a:r>
                        <a:rPr lang="zh-CN" altLang="en-US" sz="2000" b="0" dirty="0" smtClean="0">
                          <a:solidFill>
                            <a:schemeClr val="tx1"/>
                          </a:solidFill>
                          <a:latin typeface="微软雅黑 (正文)"/>
                          <a:ea typeface="+mn-ea"/>
                          <a:cs typeface="+mn-cs"/>
                        </a:rPr>
                        <a:t>初始</a:t>
                      </a:r>
                      <a:r>
                        <a:rPr lang="en-US" altLang="zh-CN" sz="2000" b="0" dirty="0" err="1" smtClean="0">
                          <a:solidFill>
                            <a:schemeClr val="tx1"/>
                          </a:solidFill>
                          <a:latin typeface="微软雅黑 (正文)"/>
                          <a:ea typeface="+mn-ea"/>
                          <a:cs typeface="+mn-cs"/>
                        </a:rPr>
                        <a:t>Redis</a:t>
                      </a:r>
                    </a:p>
                  </a:txBody>
                  <a:tcPr marL="98738" marR="98738" marT="0" marB="0" anchor="ctr">
                    <a:noFill/>
                  </a:tcPr>
                </a:tc>
              </a:tr>
              <a:tr h="375698">
                <a:tc>
                  <a:txBody>
                    <a:bodyPr/>
                    <a:lstStyle/>
                    <a:p>
                      <a:pPr marL="71755" indent="0" algn="l" defTabSz="914400" rtl="0" eaLnBrk="1" latinLnBrk="0" hangingPunct="1">
                        <a:lnSpc>
                          <a:spcPct val="100000"/>
                        </a:lnSpc>
                        <a:spcBef>
                          <a:spcPts val="300"/>
                        </a:spcBef>
                        <a:spcAft>
                          <a:spcPts val="300"/>
                        </a:spcAft>
                        <a:buNone/>
                      </a:pPr>
                      <a:r>
                        <a:rPr lang="en-US" sz="2000" kern="1200" dirty="0" smtClean="0">
                          <a:solidFill>
                            <a:schemeClr val="tx1"/>
                          </a:solidFill>
                          <a:latin typeface="微软雅黑 (正文)"/>
                          <a:ea typeface="+mn-ea"/>
                          <a:cs typeface="+mn-cs"/>
                        </a:rPr>
                        <a:t>  第</a:t>
                      </a:r>
                      <a:r>
                        <a:rPr lang="en-US" sz="2000" kern="1200" dirty="0">
                          <a:solidFill>
                            <a:schemeClr val="tx1"/>
                          </a:solidFill>
                          <a:latin typeface="微软雅黑 (正文)"/>
                          <a:ea typeface="+mn-ea"/>
                          <a:cs typeface="+mn-cs"/>
                        </a:rPr>
                        <a:t>2章</a:t>
                      </a:r>
                      <a:endParaRPr lang="en-US" altLang="en-US" sz="2000" kern="1200" dirty="0">
                        <a:solidFill>
                          <a:schemeClr val="tx1"/>
                        </a:solidFill>
                        <a:latin typeface="微软雅黑 (正文)"/>
                        <a:ea typeface="+mn-ea"/>
                        <a:cs typeface="+mn-cs"/>
                      </a:endParaRPr>
                    </a:p>
                  </a:txBody>
                  <a:tcPr marL="98738" marR="98738" marT="0" marB="0" anchor="ctr">
                    <a:solidFill>
                      <a:schemeClr val="bg1"/>
                    </a:solidFill>
                  </a:tcPr>
                </a:tc>
                <a:tc>
                  <a:txBody>
                    <a:bodyPr/>
                    <a:lstStyle/>
                    <a:p>
                      <a:pPr marL="71755" indent="0" algn="l" defTabSz="914400" rtl="0" eaLnBrk="1" latinLnBrk="0" hangingPunct="1">
                        <a:lnSpc>
                          <a:spcPct val="100000"/>
                        </a:lnSpc>
                        <a:spcBef>
                          <a:spcPts val="300"/>
                        </a:spcBef>
                        <a:spcAft>
                          <a:spcPts val="300"/>
                        </a:spcAft>
                        <a:buNone/>
                      </a:pPr>
                      <a:r>
                        <a:rPr lang="en-US" altLang="zh-CN" sz="2000" b="0" kern="1200" dirty="0" err="1" smtClean="0">
                          <a:solidFill>
                            <a:schemeClr val="tx1"/>
                          </a:solidFill>
                          <a:latin typeface="微软雅黑 (正文)"/>
                          <a:ea typeface="+mn-ea"/>
                          <a:cs typeface="+mn-cs"/>
                        </a:rPr>
                        <a:t>Redis</a:t>
                      </a:r>
                      <a:r>
                        <a:rPr lang="zh-CN" altLang="en-US" sz="2000" b="0" kern="1200" dirty="0" smtClean="0">
                          <a:solidFill>
                            <a:schemeClr val="tx1"/>
                          </a:solidFill>
                          <a:latin typeface="微软雅黑 (正文)"/>
                          <a:ea typeface="+mn-ea"/>
                          <a:cs typeface="+mn-cs"/>
                        </a:rPr>
                        <a:t>常用数据类型</a:t>
                      </a:r>
                    </a:p>
                  </a:txBody>
                  <a:tcPr marL="98738" marR="98738" marT="0" marB="0" anchor="ctr">
                    <a:solidFill>
                      <a:schemeClr val="bg1"/>
                    </a:solidFill>
                  </a:tcPr>
                </a:tc>
              </a:tr>
              <a:tr h="375698">
                <a:tc>
                  <a:txBody>
                    <a:bodyPr/>
                    <a:lstStyle/>
                    <a:p>
                      <a:pPr marL="71755" indent="0" algn="ctr">
                        <a:lnSpc>
                          <a:spcPct val="100000"/>
                        </a:lnSpc>
                        <a:spcBef>
                          <a:spcPts val="300"/>
                        </a:spcBef>
                        <a:spcAft>
                          <a:spcPts val="300"/>
                        </a:spcAft>
                        <a:buNone/>
                      </a:pPr>
                      <a:r>
                        <a:rPr lang="en-US" sz="2000" dirty="0">
                          <a:latin typeface="微软雅黑 (正文)"/>
                        </a:rPr>
                        <a:t>第3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常用命令</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ctr">
                        <a:lnSpc>
                          <a:spcPct val="100000"/>
                        </a:lnSpc>
                        <a:spcBef>
                          <a:spcPts val="300"/>
                        </a:spcBef>
                        <a:spcAft>
                          <a:spcPts val="300"/>
                        </a:spcAft>
                        <a:buNone/>
                      </a:pPr>
                      <a:r>
                        <a:rPr lang="en-US" sz="2000" dirty="0">
                          <a:latin typeface="微软雅黑 (正文)"/>
                        </a:rPr>
                        <a:t>第4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高级主题</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l" defTabSz="914400" rtl="0" eaLnBrk="1" latinLnBrk="0" hangingPunct="1">
                        <a:lnSpc>
                          <a:spcPct val="100000"/>
                        </a:lnSpc>
                        <a:spcBef>
                          <a:spcPts val="300"/>
                        </a:spcBef>
                        <a:spcAft>
                          <a:spcPts val="300"/>
                        </a:spcAft>
                        <a:buNone/>
                      </a:pPr>
                      <a:r>
                        <a:rPr lang="en-US" sz="2000" b="1" kern="1200" dirty="0" smtClean="0">
                          <a:solidFill>
                            <a:schemeClr val="bg1"/>
                          </a:solidFill>
                          <a:latin typeface="微软雅黑 (正文)"/>
                          <a:ea typeface="+mn-ea"/>
                          <a:cs typeface="+mn-cs"/>
                        </a:rPr>
                        <a:t> 第</a:t>
                      </a:r>
                      <a:r>
                        <a:rPr lang="en-US" sz="2000" b="1" kern="1200" dirty="0">
                          <a:solidFill>
                            <a:schemeClr val="bg1"/>
                          </a:solidFill>
                          <a:latin typeface="微软雅黑 (正文)"/>
                          <a:ea typeface="+mn-ea"/>
                          <a:cs typeface="+mn-cs"/>
                        </a:rPr>
                        <a:t>5章</a:t>
                      </a:r>
                      <a:endParaRPr lang="en-US" altLang="en-US" sz="2000" b="1" kern="1200" dirty="0">
                        <a:solidFill>
                          <a:schemeClr val="bg1"/>
                        </a:solidFill>
                        <a:latin typeface="微软雅黑 (正文)"/>
                        <a:ea typeface="+mn-ea"/>
                        <a:cs typeface="+mn-cs"/>
                      </a:endParaRPr>
                    </a:p>
                  </a:txBody>
                  <a:tcPr marL="98738" marR="98738" marT="0" marB="0" anchor="ctr">
                    <a:solidFill>
                      <a:schemeClr val="accent2"/>
                    </a:solidFill>
                  </a:tcPr>
                </a:tc>
                <a:tc>
                  <a:txBody>
                    <a:bodyPr/>
                    <a:lstStyle/>
                    <a:p>
                      <a:pPr marL="71755" indent="0" algn="l" defTabSz="914400" rtl="0" eaLnBrk="1" latinLnBrk="0" hangingPunct="1">
                        <a:lnSpc>
                          <a:spcPct val="100000"/>
                        </a:lnSpc>
                        <a:spcBef>
                          <a:spcPts val="300"/>
                        </a:spcBef>
                        <a:spcAft>
                          <a:spcPts val="300"/>
                        </a:spcAft>
                        <a:buNone/>
                      </a:pPr>
                      <a:r>
                        <a:rPr lang="en-US" altLang="zh-CN" sz="2000" b="1" kern="1200" dirty="0" err="1" smtClean="0">
                          <a:solidFill>
                            <a:schemeClr val="bg1"/>
                          </a:solidFill>
                          <a:latin typeface="微软雅黑 (正文)"/>
                          <a:ea typeface="+mn-ea"/>
                          <a:cs typeface="+mn-cs"/>
                        </a:rPr>
                        <a:t>Redis</a:t>
                      </a:r>
                      <a:r>
                        <a:rPr lang="zh-CN" altLang="en-US" sz="2000" b="1" kern="1200" dirty="0" smtClean="0">
                          <a:solidFill>
                            <a:schemeClr val="bg1"/>
                          </a:solidFill>
                          <a:latin typeface="微软雅黑 (正文)"/>
                          <a:ea typeface="+mn-ea"/>
                          <a:cs typeface="+mn-cs"/>
                        </a:rPr>
                        <a:t>缓存的持久化</a:t>
                      </a:r>
                      <a:endParaRPr lang="en-US" altLang="en-US" sz="2000" b="1" kern="1200" dirty="0">
                        <a:solidFill>
                          <a:schemeClr val="bg1"/>
                        </a:solidFill>
                        <a:latin typeface="微软雅黑 (正文)"/>
                        <a:ea typeface="+mn-ea"/>
                        <a:cs typeface="+mn-cs"/>
                      </a:endParaRPr>
                    </a:p>
                  </a:txBody>
                  <a:tcPr marL="98738" marR="98738" marT="0" marB="0" anchor="ctr">
                    <a:solidFill>
                      <a:schemeClr val="accent2"/>
                    </a:solidFill>
                  </a:tcPr>
                </a:tc>
              </a:tr>
              <a:tr h="375698">
                <a:tc>
                  <a:txBody>
                    <a:bodyPr/>
                    <a:lstStyle/>
                    <a:p>
                      <a:pPr marL="71755" indent="0" algn="ctr">
                        <a:lnSpc>
                          <a:spcPct val="100000"/>
                        </a:lnSpc>
                        <a:spcBef>
                          <a:spcPts val="300"/>
                        </a:spcBef>
                        <a:spcAft>
                          <a:spcPts val="300"/>
                        </a:spcAft>
                        <a:buNone/>
                      </a:pPr>
                      <a:r>
                        <a:rPr lang="en-US" sz="2000" dirty="0">
                          <a:latin typeface="微软雅黑 (正文)"/>
                        </a:rPr>
                        <a:t>第6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集群环境部署</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ctr">
                        <a:lnSpc>
                          <a:spcPct val="100000"/>
                        </a:lnSpc>
                        <a:spcBef>
                          <a:spcPts val="300"/>
                        </a:spcBef>
                        <a:spcAft>
                          <a:spcPts val="300"/>
                        </a:spcAft>
                        <a:buNone/>
                      </a:pPr>
                      <a:r>
                        <a:rPr lang="en-US" sz="2000">
                          <a:latin typeface="微软雅黑 (正文)"/>
                        </a:rPr>
                        <a:t>第7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开发与实战</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573824">
                <a:tc>
                  <a:txBody>
                    <a:bodyPr/>
                    <a:lstStyle/>
                    <a:p>
                      <a:pPr marL="71755" indent="0" algn="ctr">
                        <a:lnSpc>
                          <a:spcPct val="100000"/>
                        </a:lnSpc>
                        <a:spcBef>
                          <a:spcPts val="300"/>
                        </a:spcBef>
                        <a:spcAft>
                          <a:spcPts val="300"/>
                        </a:spcAft>
                        <a:buNone/>
                      </a:pPr>
                      <a:r>
                        <a:rPr lang="en-US" sz="2000">
                          <a:latin typeface="微软雅黑 (正文)"/>
                        </a:rPr>
                        <a:t>第8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smtClean="0">
                          <a:latin typeface="微软雅黑 (正文)"/>
                        </a:rPr>
                        <a:t>Spring Boot</a:t>
                      </a:r>
                      <a:r>
                        <a:rPr lang="zh-CN" altLang="en-US" sz="2000" dirty="0" smtClean="0">
                          <a:latin typeface="微软雅黑 (正文)"/>
                        </a:rPr>
                        <a:t>与</a:t>
                      </a:r>
                      <a:r>
                        <a:rPr lang="en-US" altLang="zh-CN" sz="2000" dirty="0" err="1" smtClean="0">
                          <a:latin typeface="微软雅黑 (正文)"/>
                        </a:rPr>
                        <a:t>Redis</a:t>
                      </a:r>
                      <a:r>
                        <a:rPr lang="zh-CN" altLang="en-US" sz="2000" dirty="0" smtClean="0">
                          <a:latin typeface="微软雅黑 (正文)"/>
                        </a:rPr>
                        <a:t>整合应用</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ctr">
                        <a:lnSpc>
                          <a:spcPct val="100000"/>
                        </a:lnSpc>
                        <a:spcBef>
                          <a:spcPts val="300"/>
                        </a:spcBef>
                        <a:spcAft>
                          <a:spcPts val="300"/>
                        </a:spcAft>
                        <a:buNone/>
                      </a:pPr>
                      <a:r>
                        <a:rPr lang="en-US" sz="2000">
                          <a:latin typeface="微软雅黑 (正文)"/>
                        </a:rPr>
                        <a:t>第9章</a:t>
                      </a:r>
                      <a:endParaRPr lang="en-US" altLang="en-US" sz="2000" b="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监控</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375698">
                <a:tc>
                  <a:txBody>
                    <a:bodyPr/>
                    <a:lstStyle/>
                    <a:p>
                      <a:pPr marL="71755" indent="0" algn="ctr">
                        <a:lnSpc>
                          <a:spcPct val="100000"/>
                        </a:lnSpc>
                        <a:spcBef>
                          <a:spcPts val="300"/>
                        </a:spcBef>
                        <a:spcAft>
                          <a:spcPts val="300"/>
                        </a:spcAft>
                        <a:buNone/>
                      </a:pPr>
                      <a:r>
                        <a:rPr lang="en-US" sz="2000" dirty="0">
                          <a:latin typeface="微软雅黑 (正文)"/>
                        </a:rPr>
                        <a:t>第10章</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a:txBody>
                    <a:bodyPr/>
                    <a:lstStyle/>
                    <a:p>
                      <a:pPr marL="71755" indent="0" algn="l">
                        <a:lnSpc>
                          <a:spcPct val="100000"/>
                        </a:lnSpc>
                        <a:spcBef>
                          <a:spcPts val="300"/>
                        </a:spcBef>
                        <a:spcAft>
                          <a:spcPts val="300"/>
                        </a:spcAft>
                        <a:buNone/>
                      </a:pPr>
                      <a:r>
                        <a:rPr lang="en-US" altLang="zh-CN" sz="2000" dirty="0" err="1" smtClean="0">
                          <a:latin typeface="微软雅黑 (正文)"/>
                        </a:rPr>
                        <a:t>Redis</a:t>
                      </a:r>
                      <a:r>
                        <a:rPr lang="zh-CN" altLang="en-US" sz="2000" dirty="0" smtClean="0">
                          <a:latin typeface="微软雅黑 (正文)"/>
                        </a:rPr>
                        <a:t>的缓存设计与优化</a:t>
                      </a: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r h="751395">
                <a:tc gridSpan="2">
                  <a:txBody>
                    <a:bodyPr/>
                    <a:lstStyle/>
                    <a:p>
                      <a:pPr marL="71755" indent="0" algn="ctr">
                        <a:lnSpc>
                          <a:spcPct val="100000"/>
                        </a:lnSpc>
                        <a:spcBef>
                          <a:spcPts val="300"/>
                        </a:spcBef>
                        <a:spcAft>
                          <a:spcPts val="300"/>
                        </a:spcAft>
                        <a:buNone/>
                      </a:pP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c hMerge="1">
                  <a:txBody>
                    <a:bodyPr/>
                    <a:lstStyle/>
                    <a:p>
                      <a:pPr marL="71755" indent="0" algn="l">
                        <a:lnSpc>
                          <a:spcPct val="100000"/>
                        </a:lnSpc>
                        <a:spcBef>
                          <a:spcPts val="300"/>
                        </a:spcBef>
                        <a:spcAft>
                          <a:spcPts val="300"/>
                        </a:spcAft>
                        <a:buNone/>
                      </a:pPr>
                      <a:endParaRPr lang="en-US" altLang="en-US" sz="2000" b="0" dirty="0">
                        <a:solidFill>
                          <a:srgbClr val="000000"/>
                        </a:solidFill>
                        <a:latin typeface="微软雅黑 (正文)"/>
                        <a:ea typeface="华文楷体" panose="02010600040101010101" charset="-122"/>
                        <a:cs typeface="华文楷体" panose="02010600040101010101" charset="-122"/>
                      </a:endParaRPr>
                    </a:p>
                  </a:txBody>
                  <a:tcPr marL="98738" marR="98738" marT="0" marB="0" anchor="ctr"/>
                </a:tc>
              </a:tr>
            </a:tbl>
          </a:graphicData>
        </a:graphic>
      </p:graphicFrame>
      <p:sp>
        <p:nvSpPr>
          <p:cNvPr id="8" name="任意多边形: 形状 7"/>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多边形: 形状 18"/>
          <p:cNvSpPr/>
          <p:nvPr/>
        </p:nvSpPr>
        <p:spPr>
          <a:xfrm>
            <a:off x="-9525" y="-1"/>
            <a:ext cx="12201525" cy="1255073"/>
          </a:xfrm>
          <a:custGeom>
            <a:avLst/>
            <a:gdLst>
              <a:gd name="connsiteX0" fmla="*/ 19050 w 12201525"/>
              <a:gd name="connsiteY0" fmla="*/ 0 h 1028700"/>
              <a:gd name="connsiteX1" fmla="*/ 0 w 12201525"/>
              <a:gd name="connsiteY1" fmla="*/ 1028700 h 1028700"/>
              <a:gd name="connsiteX2" fmla="*/ 1743075 w 12201525"/>
              <a:gd name="connsiteY2" fmla="*/ 1028700 h 1028700"/>
              <a:gd name="connsiteX3" fmla="*/ 4381500 w 12201525"/>
              <a:gd name="connsiteY3" fmla="*/ 466725 h 1028700"/>
              <a:gd name="connsiteX4" fmla="*/ 6572250 w 12201525"/>
              <a:gd name="connsiteY4" fmla="*/ 285750 h 1028700"/>
              <a:gd name="connsiteX5" fmla="*/ 9115425 w 12201525"/>
              <a:gd name="connsiteY5" fmla="*/ 352425 h 1028700"/>
              <a:gd name="connsiteX6" fmla="*/ 11220450 w 12201525"/>
              <a:gd name="connsiteY6" fmla="*/ 619125 h 1028700"/>
              <a:gd name="connsiteX7" fmla="*/ 12201525 w 12201525"/>
              <a:gd name="connsiteY7" fmla="*/ 762000 h 1028700"/>
              <a:gd name="connsiteX8" fmla="*/ 12182475 w 12201525"/>
              <a:gd name="connsiteY8" fmla="*/ 0 h 1028700"/>
              <a:gd name="connsiteX9" fmla="*/ 19050 w 12201525"/>
              <a:gd name="connsiteY9" fmla="*/ 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01525" h="1028700">
                <a:moveTo>
                  <a:pt x="19050" y="0"/>
                </a:moveTo>
                <a:lnTo>
                  <a:pt x="0" y="1028700"/>
                </a:lnTo>
                <a:lnTo>
                  <a:pt x="1743075" y="1028700"/>
                </a:lnTo>
                <a:lnTo>
                  <a:pt x="4381500" y="466725"/>
                </a:lnTo>
                <a:lnTo>
                  <a:pt x="6572250" y="285750"/>
                </a:lnTo>
                <a:lnTo>
                  <a:pt x="9115425" y="352425"/>
                </a:lnTo>
                <a:lnTo>
                  <a:pt x="11220450" y="619125"/>
                </a:lnTo>
                <a:lnTo>
                  <a:pt x="12201525" y="762000"/>
                </a:lnTo>
                <a:lnTo>
                  <a:pt x="12182475" y="0"/>
                </a:lnTo>
                <a:lnTo>
                  <a:pt x="19050" y="0"/>
                </a:lnTo>
                <a:close/>
              </a:path>
            </a:pathLst>
          </a:custGeom>
          <a:solidFill>
            <a:schemeClr val="accent3">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71525" y="257830"/>
            <a:ext cx="1980029" cy="523220"/>
          </a:xfrm>
          <a:prstGeom prst="rect">
            <a:avLst/>
          </a:prstGeom>
        </p:spPr>
        <p:txBody>
          <a:bodyPr wrap="none">
            <a:spAutoFit/>
          </a:bodyPr>
          <a:lstStyle/>
          <a:p>
            <a:r>
              <a:rPr lang="zh-CN" altLang="en-US" sz="2800" b="1" dirty="0">
                <a:solidFill>
                  <a:schemeClr val="bg1"/>
                </a:solidFill>
              </a:rPr>
              <a:t>内容导航：</a:t>
            </a:r>
          </a:p>
        </p:txBody>
      </p:sp>
      <p:sp>
        <p:nvSpPr>
          <p:cNvPr id="22" name="矩形 21"/>
          <p:cNvSpPr/>
          <p:nvPr/>
        </p:nvSpPr>
        <p:spPr>
          <a:xfrm>
            <a:off x="1696469" y="1737498"/>
            <a:ext cx="4500146" cy="460375"/>
          </a:xfrm>
          <a:prstGeom prst="rect">
            <a:avLst/>
          </a:prstGeom>
        </p:spPr>
        <p:txBody>
          <a:bodyPr wrap="square">
            <a:spAutoFit/>
          </a:bodyPr>
          <a:lstStyle/>
          <a:p>
            <a:r>
              <a:rPr lang="en-US" altLang="zh-CN" sz="2400" b="1" dirty="0" smtClean="0">
                <a:solidFill>
                  <a:srgbClr val="0000FF"/>
                </a:solidFill>
                <a:latin typeface="+mj-ea"/>
                <a:ea typeface="+mj-ea"/>
              </a:rPr>
              <a:t>5.1 </a:t>
            </a:r>
            <a:r>
              <a:rPr lang="zh-CN" altLang="en-US" sz="2400" b="1" dirty="0" smtClean="0">
                <a:solidFill>
                  <a:srgbClr val="0000FF"/>
                </a:solidFill>
                <a:latin typeface="+mj-ea"/>
                <a:ea typeface="+mj-ea"/>
              </a:rPr>
              <a:t>持久化机制</a:t>
            </a:r>
            <a:endParaRPr lang="zh-CN" altLang="en-US" sz="2400" b="1" dirty="0" smtClean="0">
              <a:solidFill>
                <a:srgbClr val="0000FF"/>
              </a:solidFill>
              <a:latin typeface="+mj-ea"/>
              <a:ea typeface="+mj-ea"/>
            </a:endParaRPr>
          </a:p>
        </p:txBody>
      </p:sp>
      <p:sp>
        <p:nvSpPr>
          <p:cNvPr id="23" name="矩形 22"/>
          <p:cNvSpPr/>
          <p:nvPr/>
        </p:nvSpPr>
        <p:spPr>
          <a:xfrm>
            <a:off x="1696469" y="2414862"/>
            <a:ext cx="4743520" cy="461665"/>
          </a:xfrm>
          <a:prstGeom prst="rect">
            <a:avLst/>
          </a:prstGeom>
        </p:spPr>
        <p:txBody>
          <a:bodyPr wrap="square">
            <a:spAutoFit/>
          </a:bodyPr>
          <a:lstStyle/>
          <a:p>
            <a:r>
              <a:rPr lang="en-US" altLang="zh-CN" sz="2400" dirty="0" smtClean="0">
                <a:latin typeface="+mj-ea"/>
              </a:rPr>
              <a:t>5.2 </a:t>
            </a:r>
            <a:r>
              <a:rPr lang="en-US" altLang="zh-CN" sz="2400" dirty="0" err="1" smtClean="0">
                <a:latin typeface="+mj-ea"/>
              </a:rPr>
              <a:t>Redis</a:t>
            </a:r>
            <a:r>
              <a:rPr lang="zh-CN" altLang="en-US" sz="2400" dirty="0" smtClean="0">
                <a:latin typeface="+mj-ea"/>
              </a:rPr>
              <a:t>过期</a:t>
            </a:r>
            <a:r>
              <a:rPr lang="en-US" altLang="zh-CN" sz="2400" dirty="0" smtClean="0">
                <a:latin typeface="+mj-ea"/>
              </a:rPr>
              <a:t>Key</a:t>
            </a:r>
            <a:r>
              <a:rPr lang="zh-CN" altLang="en-US" sz="2400" dirty="0" smtClean="0">
                <a:latin typeface="+mj-ea"/>
              </a:rPr>
              <a:t>清除策略</a:t>
            </a:r>
            <a:endParaRPr lang="zh-CN" altLang="en-US" sz="2400" dirty="0" smtClean="0">
              <a:latin typeface="+mj-ea"/>
            </a:endParaRPr>
          </a:p>
        </p:txBody>
      </p:sp>
      <p:sp>
        <p:nvSpPr>
          <p:cNvPr id="3" name="矩形 2"/>
          <p:cNvSpPr/>
          <p:nvPr/>
        </p:nvSpPr>
        <p:spPr>
          <a:xfrm>
            <a:off x="7361444" y="2007242"/>
            <a:ext cx="4980851" cy="646331"/>
          </a:xfrm>
          <a:prstGeom prst="rect">
            <a:avLst/>
          </a:prstGeom>
        </p:spPr>
        <p:txBody>
          <a:bodyPr wrap="none">
            <a:spAutoFit/>
          </a:bodyPr>
          <a:lstStyle/>
          <a:p>
            <a:r>
              <a:rPr lang="zh-CN" altLang="en-US" sz="3600" dirty="0" smtClean="0">
                <a:solidFill>
                  <a:srgbClr val="000000"/>
                </a:solidFill>
              </a:rPr>
              <a:t>第</a:t>
            </a:r>
            <a:r>
              <a:rPr lang="en-US" altLang="zh-CN" sz="3600" dirty="0" smtClean="0">
                <a:solidFill>
                  <a:srgbClr val="000000"/>
                </a:solidFill>
              </a:rPr>
              <a:t>5</a:t>
            </a:r>
            <a:r>
              <a:rPr lang="zh-CN" altLang="en-US" sz="3600" dirty="0" smtClean="0">
                <a:solidFill>
                  <a:srgbClr val="000000"/>
                </a:solidFill>
              </a:rPr>
              <a:t>章 </a:t>
            </a:r>
            <a:r>
              <a:rPr lang="en-US" altLang="zh-CN" sz="3600" dirty="0" err="1" smtClean="0">
                <a:solidFill>
                  <a:srgbClr val="000000"/>
                </a:solidFill>
              </a:rPr>
              <a:t>Redis</a:t>
            </a:r>
            <a:r>
              <a:rPr lang="zh-CN" altLang="en-US" sz="3600" dirty="0" smtClean="0">
                <a:solidFill>
                  <a:srgbClr val="000000"/>
                </a:solidFill>
              </a:rPr>
              <a:t>缓存持久化</a:t>
            </a:r>
            <a:endParaRPr lang="zh-CN" altLang="en-US" sz="3600" dirty="0" smtClean="0">
              <a:solidFill>
                <a:srgbClr val="000000"/>
              </a:solidFill>
            </a:endParaRPr>
          </a:p>
        </p:txBody>
      </p:sp>
      <p:cxnSp>
        <p:nvCxnSpPr>
          <p:cNvPr id="5" name="直接连接符 4"/>
          <p:cNvCxnSpPr/>
          <p:nvPr/>
        </p:nvCxnSpPr>
        <p:spPr>
          <a:xfrm>
            <a:off x="7421733" y="3190471"/>
            <a:ext cx="4125389"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7361663" y="3247028"/>
            <a:ext cx="4329575" cy="579839"/>
          </a:xfrm>
          <a:prstGeom prst="rect">
            <a:avLst/>
          </a:prstGeom>
        </p:spPr>
        <p:txBody>
          <a:bodyPr wrap="square">
            <a:spAutoFit/>
          </a:bodyPr>
          <a:lstStyle/>
          <a:p>
            <a:pPr algn="ctr">
              <a:lnSpc>
                <a:spcPct val="132000"/>
              </a:lnSpc>
            </a:pPr>
            <a:r>
              <a:rPr lang="zh-CN" altLang="en-US" sz="2400" dirty="0">
                <a:solidFill>
                  <a:srgbClr val="002060"/>
                </a:solidFill>
              </a:rPr>
              <a:t>主讲</a:t>
            </a:r>
            <a:r>
              <a:rPr lang="zh-CN" altLang="en-US" sz="2400" dirty="0" smtClean="0">
                <a:solidFill>
                  <a:srgbClr val="002060"/>
                </a:solidFill>
              </a:rPr>
              <a:t>：***    </a:t>
            </a:r>
            <a:r>
              <a:rPr lang="zh-CN" altLang="en-US" sz="2400" dirty="0">
                <a:solidFill>
                  <a:srgbClr val="002060"/>
                </a:solidFill>
              </a:rPr>
              <a:t>主审</a:t>
            </a:r>
            <a:r>
              <a:rPr lang="zh-CN" altLang="en-US" sz="2400" dirty="0">
                <a:solidFill>
                  <a:srgbClr val="002060"/>
                </a:solidFill>
              </a:rPr>
              <a:t>： ***</a:t>
            </a:r>
            <a:endParaRPr lang="en-US" altLang="zh-CN" sz="2400" dirty="0">
              <a:solidFill>
                <a:srgbClr val="002060"/>
              </a:solidFill>
            </a:endParaRPr>
          </a:p>
        </p:txBody>
      </p:sp>
      <p:sp>
        <p:nvSpPr>
          <p:cNvPr id="8" name="矩形 7"/>
          <p:cNvSpPr/>
          <p:nvPr/>
        </p:nvSpPr>
        <p:spPr>
          <a:xfrm>
            <a:off x="-9526" y="6375042"/>
            <a:ext cx="12201526" cy="482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p:cNvSpPr/>
          <p:nvPr/>
        </p:nvSpPr>
        <p:spPr bwMode="auto">
          <a:xfrm>
            <a:off x="-9526" y="252740"/>
            <a:ext cx="12201525" cy="1128723"/>
          </a:xfrm>
          <a:custGeom>
            <a:avLst/>
            <a:gdLst>
              <a:gd name="connsiteX0" fmla="*/ 7144392 w 12325350"/>
              <a:gd name="connsiteY0" fmla="*/ 261 h 6478847"/>
              <a:gd name="connsiteX1" fmla="*/ 8214533 w 12325350"/>
              <a:gd name="connsiteY1" fmla="*/ 121934 h 6478847"/>
              <a:gd name="connsiteX2" fmla="*/ 10903294 w 12325350"/>
              <a:gd name="connsiteY2" fmla="*/ 1454273 h 6478847"/>
              <a:gd name="connsiteX3" fmla="*/ 12325350 w 12325350"/>
              <a:gd name="connsiteY3" fmla="*/ 2857357 h 6478847"/>
              <a:gd name="connsiteX4" fmla="*/ 12325350 w 12325350"/>
              <a:gd name="connsiteY4" fmla="*/ 5321595 h 6478847"/>
              <a:gd name="connsiteX5" fmla="*/ 6864178 w 12325350"/>
              <a:gd name="connsiteY5" fmla="*/ 1555476 h 6478847"/>
              <a:gd name="connsiteX6" fmla="*/ 3518165 w 12325350"/>
              <a:gd name="connsiteY6" fmla="*/ 4703571 h 6478847"/>
              <a:gd name="connsiteX7" fmla="*/ 4850 w 12325350"/>
              <a:gd name="connsiteY7" fmla="*/ 6371943 h 6478847"/>
              <a:gd name="connsiteX8" fmla="*/ 0 w 12325350"/>
              <a:gd name="connsiteY8" fmla="*/ 6083424 h 6478847"/>
              <a:gd name="connsiteX9" fmla="*/ 0 w 12325350"/>
              <a:gd name="connsiteY9" fmla="*/ 4957873 h 6478847"/>
              <a:gd name="connsiteX10" fmla="*/ 27210 w 12325350"/>
              <a:gd name="connsiteY10" fmla="*/ 4967674 h 6478847"/>
              <a:gd name="connsiteX11" fmla="*/ 2335110 w 12325350"/>
              <a:gd name="connsiteY11" fmla="*/ 3646345 h 6478847"/>
              <a:gd name="connsiteX12" fmla="*/ 7144392 w 12325350"/>
              <a:gd name="connsiteY12" fmla="*/ 261 h 647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5350" h="6478847">
                <a:moveTo>
                  <a:pt x="7144392" y="261"/>
                </a:moveTo>
                <a:cubicBezTo>
                  <a:pt x="7479248" y="-3556"/>
                  <a:pt x="7835119" y="34487"/>
                  <a:pt x="8214533" y="121934"/>
                </a:cubicBezTo>
                <a:cubicBezTo>
                  <a:pt x="9475264" y="412769"/>
                  <a:pt x="10281892" y="1000335"/>
                  <a:pt x="10903294" y="1454273"/>
                </a:cubicBezTo>
                <a:cubicBezTo>
                  <a:pt x="11940956" y="2211820"/>
                  <a:pt x="12295475" y="2846549"/>
                  <a:pt x="12325350" y="2857357"/>
                </a:cubicBezTo>
                <a:cubicBezTo>
                  <a:pt x="12325350" y="5321595"/>
                  <a:pt x="12325350" y="5321595"/>
                  <a:pt x="12325350" y="5321595"/>
                </a:cubicBezTo>
                <a:cubicBezTo>
                  <a:pt x="12325350" y="5321595"/>
                  <a:pt x="9373688" y="1135927"/>
                  <a:pt x="6864178" y="1555476"/>
                </a:cubicBezTo>
                <a:cubicBezTo>
                  <a:pt x="5941038" y="1709737"/>
                  <a:pt x="5250922" y="2295337"/>
                  <a:pt x="3518165" y="4703571"/>
                </a:cubicBezTo>
                <a:cubicBezTo>
                  <a:pt x="1785408" y="7110821"/>
                  <a:pt x="4850" y="6371943"/>
                  <a:pt x="4850" y="6371943"/>
                </a:cubicBezTo>
                <a:lnTo>
                  <a:pt x="0" y="6083424"/>
                </a:lnTo>
                <a:lnTo>
                  <a:pt x="0" y="4957873"/>
                </a:lnTo>
                <a:lnTo>
                  <a:pt x="27210" y="4967674"/>
                </a:lnTo>
                <a:cubicBezTo>
                  <a:pt x="239930" y="5036640"/>
                  <a:pt x="1164005" y="5214497"/>
                  <a:pt x="2335110" y="3646345"/>
                </a:cubicBezTo>
                <a:cubicBezTo>
                  <a:pt x="3486174" y="2104845"/>
                  <a:pt x="4800399" y="26979"/>
                  <a:pt x="7144392" y="261"/>
                </a:cubicBezTo>
                <a:close/>
              </a:path>
            </a:pathLst>
          </a:custGeom>
          <a:gradFill flip="none" rotWithShape="1">
            <a:gsLst>
              <a:gs pos="14000">
                <a:schemeClr val="accent2"/>
              </a:gs>
              <a:gs pos="84000">
                <a:srgbClr val="FFFF00"/>
              </a:gs>
            </a:gsLst>
            <a:lin ang="4800000" scaled="0"/>
            <a:tileRect/>
          </a:gradFill>
          <a:ln>
            <a:noFill/>
          </a:ln>
        </p:spPr>
        <p:txBody>
          <a:bodyPr vert="horz" wrap="square" lIns="91440" tIns="45720" rIns="91440" bIns="45720" numCol="1" anchor="t" anchorCtr="0" compatLnSpc="1">
            <a:noAutofit/>
          </a:bodyPr>
          <a:lstStyle/>
          <a:p>
            <a:endParaRPr lang="zh-CN" altLang="en-US">
              <a:gradFill>
                <a:gsLst>
                  <a:gs pos="100000">
                    <a:schemeClr val="accent3"/>
                  </a:gs>
                  <a:gs pos="0">
                    <a:schemeClr val="accent4"/>
                  </a:gs>
                </a:gsLst>
                <a:lin ang="13500000" scaled="1"/>
              </a:gradFill>
            </a:endParaRPr>
          </a:p>
        </p:txBody>
      </p:sp>
      <p:pic>
        <p:nvPicPr>
          <p:cNvPr id="30" name="图片 2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44475" y="261476"/>
            <a:ext cx="527050" cy="527050"/>
          </a:xfrm>
          <a:prstGeom prst="rect">
            <a:avLst/>
          </a:prstGeom>
        </p:spPr>
      </p:pic>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1700488"/>
            <a:ext cx="527050" cy="527050"/>
          </a:xfrm>
          <a:prstGeom prst="rect">
            <a:avLst/>
          </a:prstGeom>
          <a:ln>
            <a:noFill/>
          </a:ln>
          <a:effectLst>
            <a:softEdge rad="0"/>
          </a:effectLst>
        </p:spPr>
      </p:pic>
      <p:pic>
        <p:nvPicPr>
          <p:cNvPr id="32" name="图片 3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69418" y="2361342"/>
            <a:ext cx="527050" cy="527050"/>
          </a:xfrm>
          <a:prstGeom prst="rect">
            <a:avLst/>
          </a:prstGeom>
          <a:ln>
            <a:noFill/>
          </a:ln>
          <a:effectLst>
            <a:softEdge rad="0"/>
          </a:effec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持久化机制</a:t>
            </a:r>
            <a:endParaRPr lang="zh-CN" altLang="en-US" sz="2800" b="1" dirty="0">
              <a:solidFill>
                <a:schemeClr val="bg1"/>
              </a:solidFill>
            </a:endParaRPr>
          </a:p>
        </p:txBody>
      </p:sp>
      <p:sp>
        <p:nvSpPr>
          <p:cNvPr id="4" name="文本框 3"/>
          <p:cNvSpPr txBox="1"/>
          <p:nvPr/>
        </p:nvSpPr>
        <p:spPr>
          <a:xfrm>
            <a:off x="1357520" y="1310204"/>
            <a:ext cx="10034024" cy="2833276"/>
          </a:xfrm>
          <a:prstGeom prst="rect">
            <a:avLst/>
          </a:prstGeom>
          <a:noFill/>
        </p:spPr>
        <p:txBody>
          <a:bodyPr wrap="square" rtlCol="0">
            <a:spAutoFit/>
          </a:bodyPr>
          <a:lstStyle/>
          <a:p>
            <a:pPr marL="342900" indent="-342900" algn="just">
              <a:lnSpc>
                <a:spcPct val="150000"/>
              </a:lnSpc>
              <a:spcAft>
                <a:spcPts val="600"/>
              </a:spcAft>
              <a:buClr>
                <a:srgbClr val="FF0000"/>
              </a:buClr>
              <a:buFont typeface="Wingdings" panose="05000000000000000000" pitchFamily="2" charset="2"/>
              <a:buChar char="Ø"/>
            </a:pPr>
            <a:r>
              <a:rPr lang="en-US" altLang="zh-CN" sz="2400" dirty="0" err="1" smtClean="0"/>
              <a:t>Redis</a:t>
            </a:r>
            <a:r>
              <a:rPr lang="zh-CN" altLang="zh-CN" sz="2400" dirty="0"/>
              <a:t>提供两种方式进行持久化，一种是</a:t>
            </a:r>
            <a:r>
              <a:rPr lang="en-US" altLang="zh-CN" sz="2400" dirty="0"/>
              <a:t>RDB</a:t>
            </a:r>
            <a:r>
              <a:rPr lang="zh-CN" altLang="zh-CN" sz="2400" dirty="0"/>
              <a:t>持久化（原理是将</a:t>
            </a:r>
            <a:r>
              <a:rPr lang="en-US" altLang="zh-CN" sz="2400" dirty="0" err="1"/>
              <a:t>Reids</a:t>
            </a:r>
            <a:r>
              <a:rPr lang="zh-CN" altLang="zh-CN" sz="2400" dirty="0"/>
              <a:t>在在指定的时间间隔内将存中的数据库数据集快照写入磁盘），另外一种是</a:t>
            </a:r>
            <a:r>
              <a:rPr lang="en-US" altLang="zh-CN" sz="2400" dirty="0"/>
              <a:t>AOF</a:t>
            </a:r>
            <a:r>
              <a:rPr lang="zh-CN" altLang="zh-CN" sz="2400" dirty="0"/>
              <a:t>（</a:t>
            </a:r>
            <a:r>
              <a:rPr lang="en-US" altLang="zh-CN" sz="2400" dirty="0"/>
              <a:t>append only file</a:t>
            </a:r>
            <a:r>
              <a:rPr lang="zh-CN" altLang="zh-CN" sz="2400" dirty="0"/>
              <a:t>）追加持久化（原理是将</a:t>
            </a:r>
            <a:r>
              <a:rPr lang="en-US" altLang="zh-CN" sz="2400" dirty="0" err="1"/>
              <a:t>Reids</a:t>
            </a:r>
            <a:r>
              <a:rPr lang="zh-CN" altLang="zh-CN" sz="2400" dirty="0"/>
              <a:t>的操作日志以追加的方式写入文件）。下面详细介绍这两种方式。</a:t>
            </a:r>
          </a:p>
          <a:p>
            <a:pPr marL="342900" indent="-342900" algn="just">
              <a:lnSpc>
                <a:spcPct val="150000"/>
              </a:lnSpc>
              <a:spcAft>
                <a:spcPts val="600"/>
              </a:spcAft>
              <a:buClr>
                <a:srgbClr val="FF0000"/>
              </a:buClr>
              <a:buFont typeface="Wingdings" panose="05000000000000000000" pitchFamily="2" charset="2"/>
              <a:buChar char="Ø"/>
            </a:pPr>
            <a:endParaRPr lang="zh-CN" altLang="en-US" sz="2200" dirty="0">
              <a:latin typeface="+mn-ea"/>
            </a:endParaRPr>
          </a:p>
        </p:txBody>
      </p: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734411" y="1407071"/>
            <a:ext cx="527050" cy="527050"/>
          </a:xfrm>
          <a:prstGeom prst="rect">
            <a:avLst/>
          </a:prstGeom>
          <a:ln>
            <a:noFill/>
          </a:ln>
          <a:effectLst>
            <a:softEdge rad="0"/>
          </a:effec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持久化机制</a:t>
            </a:r>
            <a:endParaRPr lang="zh-CN" altLang="en-US" sz="2800" b="1" dirty="0">
              <a:solidFill>
                <a:schemeClr val="bg1"/>
              </a:solidFill>
            </a:endParaRPr>
          </a:p>
        </p:txBody>
      </p:sp>
      <p:sp>
        <p:nvSpPr>
          <p:cNvPr id="4" name="文本框 3"/>
          <p:cNvSpPr txBox="1"/>
          <p:nvPr/>
        </p:nvSpPr>
        <p:spPr>
          <a:xfrm>
            <a:off x="1555334" y="2198967"/>
            <a:ext cx="10034024" cy="1985159"/>
          </a:xfrm>
          <a:prstGeom prst="rect">
            <a:avLst/>
          </a:prstGeom>
          <a:noFill/>
        </p:spPr>
        <p:txBody>
          <a:bodyPr wrap="square" rtlCol="0">
            <a:spAutoFit/>
          </a:bodyPr>
          <a:lstStyle/>
          <a:p>
            <a:r>
              <a:rPr lang="en-US" altLang="zh-CN" dirty="0"/>
              <a:t>RDB</a:t>
            </a:r>
            <a:r>
              <a:rPr lang="zh-CN" altLang="zh-CN" dirty="0"/>
              <a:t>持久化，该方式是指在指定的时间间隔内定时的将内存中的数据集快照写入磁盘，把内存中的数据保存到</a:t>
            </a:r>
            <a:r>
              <a:rPr lang="en-US" altLang="zh-CN" dirty="0"/>
              <a:t>RDB</a:t>
            </a:r>
            <a:r>
              <a:rPr lang="zh-CN" altLang="zh-CN" dirty="0"/>
              <a:t>文件中，是默认的持久化方式。 </a:t>
            </a:r>
            <a:r>
              <a:rPr lang="en-US" altLang="zh-CN" dirty="0" err="1"/>
              <a:t>Redis</a:t>
            </a:r>
            <a:r>
              <a:rPr lang="zh-CN" altLang="zh-CN" dirty="0"/>
              <a:t>快照的过程是，首先</a:t>
            </a:r>
            <a:r>
              <a:rPr lang="en-US" altLang="zh-CN" dirty="0" err="1"/>
              <a:t>Redis</a:t>
            </a:r>
            <a:r>
              <a:rPr lang="en-US" altLang="zh-CN" dirty="0"/>
              <a:t> Server</a:t>
            </a:r>
            <a:r>
              <a:rPr lang="zh-CN" altLang="zh-CN" dirty="0"/>
              <a:t>（服务器）使用</a:t>
            </a:r>
            <a:r>
              <a:rPr lang="en-US" altLang="zh-CN" dirty="0"/>
              <a:t>fork</a:t>
            </a:r>
            <a:r>
              <a:rPr lang="zh-CN" altLang="zh-CN" dirty="0"/>
              <a:t>函数复制一份当前进程（父进程）的副本（子进程）。其次，父进程继续接收并处理客户端发来的命令，而子进程将内存中的数据写入硬盘中的临时文件。最后，当子进程写入完所有数据后会将</a:t>
            </a:r>
            <a:r>
              <a:rPr lang="en-US" altLang="zh-CN" dirty="0"/>
              <a:t>RDB</a:t>
            </a:r>
            <a:r>
              <a:rPr lang="zh-CN" altLang="zh-CN" dirty="0"/>
              <a:t>临时文件替换旧的</a:t>
            </a:r>
            <a:r>
              <a:rPr lang="en-US" altLang="zh-CN" dirty="0"/>
              <a:t>RDB</a:t>
            </a:r>
            <a:r>
              <a:rPr lang="zh-CN" altLang="zh-CN" dirty="0" smtClean="0"/>
              <a:t>文件。</a:t>
            </a:r>
            <a:endParaRPr lang="zh-CN" altLang="zh-CN" dirty="0"/>
          </a:p>
          <a:p>
            <a:pPr marL="342900" indent="-342900" algn="just">
              <a:lnSpc>
                <a:spcPct val="150000"/>
              </a:lnSpc>
              <a:spcAft>
                <a:spcPts val="600"/>
              </a:spcAft>
              <a:buClr>
                <a:srgbClr val="FF0000"/>
              </a:buClr>
              <a:buFont typeface="Wingdings" panose="05000000000000000000" pitchFamily="2" charset="2"/>
              <a:buChar char="Ø"/>
            </a:pPr>
            <a:endParaRPr lang="zh-CN" altLang="en-US" sz="2200" dirty="0">
              <a:latin typeface="+mn-ea"/>
            </a:endParaRPr>
          </a:p>
        </p:txBody>
      </p: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734411" y="1407071"/>
            <a:ext cx="527050" cy="527050"/>
          </a:xfrm>
          <a:prstGeom prst="rect">
            <a:avLst/>
          </a:prstGeom>
          <a:ln>
            <a:noFill/>
          </a:ln>
          <a:effectLst>
            <a:softEdge rad="0"/>
          </a:effectLst>
        </p:spPr>
      </p:pic>
      <p:sp>
        <p:nvSpPr>
          <p:cNvPr id="2" name="文本框 1"/>
          <p:cNvSpPr txBox="1"/>
          <p:nvPr/>
        </p:nvSpPr>
        <p:spPr>
          <a:xfrm>
            <a:off x="1555334" y="1483847"/>
            <a:ext cx="1373022" cy="373498"/>
          </a:xfrm>
          <a:prstGeom prst="rect">
            <a:avLst/>
          </a:prstGeom>
          <a:noFill/>
        </p:spPr>
        <p:txBody>
          <a:bodyPr wrap="square" rtlCol="0">
            <a:spAutoFit/>
          </a:bodyPr>
          <a:lstStyle/>
          <a:p>
            <a:r>
              <a:rPr lang="en-US" altLang="zh-CN" dirty="0" smtClean="0">
                <a:latin typeface="+mn-ea"/>
              </a:rPr>
              <a:t>RDB</a:t>
            </a:r>
            <a:r>
              <a:rPr lang="zh-CN" altLang="en-US" dirty="0" smtClean="0">
                <a:latin typeface="+mn-ea"/>
              </a:rPr>
              <a:t>持久化</a:t>
            </a:r>
            <a:endParaRPr lang="zh-CN" altLang="en-US" dirty="0">
              <a:latin typeface="+mn-ea"/>
            </a:endParaRPr>
          </a:p>
        </p:txBody>
      </p:sp>
      <p:pic>
        <p:nvPicPr>
          <p:cNvPr id="6" name="图片 5"/>
          <p:cNvPicPr/>
          <p:nvPr/>
        </p:nvPicPr>
        <p:blipFill>
          <a:blip r:embed="rId3">
            <a:extLst>
              <a:ext uri="{28A0092B-C50C-407E-A947-70E740481C1C}">
                <a14:useLocalDpi xmlns:a14="http://schemas.microsoft.com/office/drawing/2010/main" val="0"/>
              </a:ext>
            </a:extLst>
          </a:blip>
          <a:srcRect/>
          <a:stretch>
            <a:fillRect/>
          </a:stretch>
        </p:blipFill>
        <p:spPr bwMode="auto">
          <a:xfrm>
            <a:off x="1545907" y="3973103"/>
            <a:ext cx="5274310" cy="1612265"/>
          </a:xfrm>
          <a:prstGeom prst="rect">
            <a:avLst/>
          </a:prstGeom>
          <a:noFill/>
          <a:ln>
            <a:noFill/>
          </a:ln>
        </p:spPr>
      </p:pic>
    </p:spTree>
    <p:extLst>
      <p:ext uri="{BB962C8B-B14F-4D97-AF65-F5344CB8AC3E}">
        <p14:creationId xmlns:p14="http://schemas.microsoft.com/office/powerpoint/2010/main" val="11792046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669925" y="78668"/>
            <a:ext cx="7026275" cy="523220"/>
          </a:xfrm>
          <a:prstGeom prst="rect">
            <a:avLst/>
          </a:prstGeom>
        </p:spPr>
        <p:txBody>
          <a:bodyPr wrap="square">
            <a:spAutoFit/>
          </a:bodyPr>
          <a:lstStyle/>
          <a:p>
            <a:r>
              <a:rPr lang="zh-CN" altLang="en-US" sz="2800" b="1" dirty="0">
                <a:solidFill>
                  <a:schemeClr val="bg1"/>
                </a:solidFill>
              </a:rPr>
              <a:t>持久化机制</a:t>
            </a:r>
            <a:endParaRPr lang="zh-CN" altLang="en-US" sz="2800" b="1" dirty="0">
              <a:solidFill>
                <a:schemeClr val="bg1"/>
              </a:solidFill>
            </a:endParaRPr>
          </a:p>
        </p:txBody>
      </p:sp>
      <p:sp>
        <p:nvSpPr>
          <p:cNvPr id="4" name="文本框 3"/>
          <p:cNvSpPr txBox="1"/>
          <p:nvPr/>
        </p:nvSpPr>
        <p:spPr>
          <a:xfrm>
            <a:off x="1555334" y="2198967"/>
            <a:ext cx="10034024" cy="923330"/>
          </a:xfrm>
          <a:prstGeom prst="rect">
            <a:avLst/>
          </a:prstGeom>
          <a:noFill/>
        </p:spPr>
        <p:txBody>
          <a:bodyPr wrap="square" rtlCol="0">
            <a:spAutoFit/>
          </a:bodyPr>
          <a:lstStyle/>
          <a:p>
            <a:r>
              <a:rPr lang="en-US" altLang="zh-CN" dirty="0">
                <a:latin typeface="+mn-ea"/>
              </a:rPr>
              <a:t>AOF</a:t>
            </a:r>
            <a:r>
              <a:rPr lang="zh-CN" altLang="zh-CN" dirty="0">
                <a:latin typeface="+mn-ea"/>
              </a:rPr>
              <a:t>持久化，追加持久化方式</a:t>
            </a:r>
            <a:r>
              <a:rPr lang="en-US" altLang="zh-CN" dirty="0">
                <a:latin typeface="+mn-ea"/>
              </a:rPr>
              <a:t>(Append Only File)</a:t>
            </a:r>
            <a:r>
              <a:rPr lang="zh-CN" altLang="zh-CN" dirty="0">
                <a:latin typeface="+mn-ea"/>
              </a:rPr>
              <a:t>，</a:t>
            </a:r>
            <a:r>
              <a:rPr lang="en-US" altLang="zh-CN" dirty="0">
                <a:latin typeface="+mn-ea"/>
              </a:rPr>
              <a:t>AOF</a:t>
            </a:r>
            <a:r>
              <a:rPr lang="zh-CN" altLang="zh-CN" dirty="0">
                <a:latin typeface="+mn-ea"/>
              </a:rPr>
              <a:t>持久化方式会记录</a:t>
            </a:r>
            <a:r>
              <a:rPr lang="en-US" altLang="zh-CN" dirty="0" err="1">
                <a:latin typeface="+mn-ea"/>
              </a:rPr>
              <a:t>Redis</a:t>
            </a:r>
            <a:r>
              <a:rPr lang="zh-CN" altLang="zh-CN" dirty="0">
                <a:latin typeface="+mn-ea"/>
              </a:rPr>
              <a:t>客户端对服务器的每一次写操作命令，并将这些写操作追加保存到</a:t>
            </a:r>
            <a:r>
              <a:rPr lang="en-US" altLang="zh-CN" dirty="0" err="1">
                <a:latin typeface="+mn-ea"/>
              </a:rPr>
              <a:t>appendonly.aof</a:t>
            </a:r>
            <a:r>
              <a:rPr lang="zh-CN" altLang="zh-CN" dirty="0">
                <a:latin typeface="+mn-ea"/>
              </a:rPr>
              <a:t>文件中，在</a:t>
            </a:r>
            <a:r>
              <a:rPr lang="en-US" altLang="zh-CN" dirty="0" err="1">
                <a:latin typeface="+mn-ea"/>
              </a:rPr>
              <a:t>Redis</a:t>
            </a:r>
            <a:r>
              <a:rPr lang="zh-CN" altLang="zh-CN" dirty="0">
                <a:latin typeface="+mn-ea"/>
              </a:rPr>
              <a:t>服务器重启时，会加载并运行</a:t>
            </a:r>
            <a:r>
              <a:rPr lang="en-US" altLang="zh-CN" dirty="0">
                <a:latin typeface="+mn-ea"/>
              </a:rPr>
              <a:t>AOF</a:t>
            </a:r>
            <a:r>
              <a:rPr lang="zh-CN" altLang="zh-CN" dirty="0">
                <a:latin typeface="+mn-ea"/>
              </a:rPr>
              <a:t>文件里的命令，以达到恢复数据的</a:t>
            </a:r>
            <a:r>
              <a:rPr lang="zh-CN" altLang="zh-CN" dirty="0" smtClean="0">
                <a:latin typeface="+mn-ea"/>
              </a:rPr>
              <a:t>目的</a:t>
            </a:r>
            <a:r>
              <a:rPr lang="zh-CN" altLang="en-US" dirty="0" smtClean="0">
                <a:latin typeface="+mn-ea"/>
              </a:rPr>
              <a:t>。</a:t>
            </a:r>
            <a:endParaRPr lang="zh-CN" altLang="en-US" sz="2200" dirty="0">
              <a:latin typeface="+mn-ea"/>
            </a:endParaRPr>
          </a:p>
        </p:txBody>
      </p: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734411" y="1407071"/>
            <a:ext cx="527050" cy="527050"/>
          </a:xfrm>
          <a:prstGeom prst="rect">
            <a:avLst/>
          </a:prstGeom>
          <a:ln>
            <a:noFill/>
          </a:ln>
          <a:effectLst>
            <a:softEdge rad="0"/>
          </a:effectLst>
        </p:spPr>
      </p:pic>
      <p:sp>
        <p:nvSpPr>
          <p:cNvPr id="2" name="文本框 1"/>
          <p:cNvSpPr txBox="1"/>
          <p:nvPr/>
        </p:nvSpPr>
        <p:spPr>
          <a:xfrm>
            <a:off x="1555334" y="1483847"/>
            <a:ext cx="1373022" cy="369332"/>
          </a:xfrm>
          <a:prstGeom prst="rect">
            <a:avLst/>
          </a:prstGeom>
          <a:noFill/>
        </p:spPr>
        <p:txBody>
          <a:bodyPr wrap="square" rtlCol="0">
            <a:spAutoFit/>
          </a:bodyPr>
          <a:lstStyle/>
          <a:p>
            <a:r>
              <a:rPr lang="en-US" altLang="zh-CN" dirty="0"/>
              <a:t>AOF</a:t>
            </a:r>
            <a:r>
              <a:rPr lang="zh-CN" altLang="zh-CN" dirty="0"/>
              <a:t>持久</a:t>
            </a:r>
            <a:r>
              <a:rPr lang="zh-CN" altLang="zh-CN" dirty="0" smtClean="0"/>
              <a:t>化</a:t>
            </a:r>
            <a:endParaRPr lang="zh-CN" altLang="en-US" dirty="0"/>
          </a:p>
        </p:txBody>
      </p:sp>
      <p:pic>
        <p:nvPicPr>
          <p:cNvPr id="7" name="图片 6"/>
          <p:cNvPicPr/>
          <p:nvPr/>
        </p:nvPicPr>
        <p:blipFill>
          <a:blip r:embed="rId3">
            <a:extLst>
              <a:ext uri="{28A0092B-C50C-407E-A947-70E740481C1C}">
                <a14:useLocalDpi xmlns:a14="http://schemas.microsoft.com/office/drawing/2010/main" val="0"/>
              </a:ext>
            </a:extLst>
          </a:blip>
          <a:srcRect/>
          <a:stretch>
            <a:fillRect/>
          </a:stretch>
        </p:blipFill>
        <p:spPr bwMode="auto">
          <a:xfrm>
            <a:off x="1647136" y="3756716"/>
            <a:ext cx="5274310" cy="962660"/>
          </a:xfrm>
          <a:prstGeom prst="rect">
            <a:avLst/>
          </a:prstGeom>
          <a:noFill/>
          <a:ln>
            <a:noFill/>
          </a:ln>
        </p:spPr>
      </p:pic>
    </p:spTree>
    <p:extLst>
      <p:ext uri="{BB962C8B-B14F-4D97-AF65-F5344CB8AC3E}">
        <p14:creationId xmlns:p14="http://schemas.microsoft.com/office/powerpoint/2010/main" val="31101547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custDataLst>
              <p:tags r:id="rId1"/>
            </p:custDataLst>
          </p:nvPr>
        </p:nvSpPr>
        <p:spPr>
          <a:xfrm>
            <a:off x="669925" y="78668"/>
            <a:ext cx="7026275" cy="521970"/>
          </a:xfrm>
          <a:prstGeom prst="rect">
            <a:avLst/>
          </a:prstGeom>
        </p:spPr>
        <p:txBody>
          <a:bodyPr wrap="square">
            <a:spAutoFit/>
          </a:bodyPr>
          <a:lstStyle/>
          <a:p>
            <a:r>
              <a:rPr lang="zh-CN" altLang="en-US" sz="2800" b="1" dirty="0">
                <a:solidFill>
                  <a:schemeClr val="bg1"/>
                </a:solidFill>
              </a:rPr>
              <a:t>配置</a:t>
            </a:r>
            <a:r>
              <a:rPr lang="en-US" altLang="zh-CN" sz="2800" b="1" dirty="0" smtClean="0">
                <a:solidFill>
                  <a:schemeClr val="bg1"/>
                </a:solidFill>
              </a:rPr>
              <a:t>RDB</a:t>
            </a:r>
            <a:endParaRPr lang="en-US" altLang="zh-CN" sz="2800" b="1" dirty="0">
              <a:solidFill>
                <a:schemeClr val="bg1"/>
              </a:solidFill>
            </a:endParaRPr>
          </a:p>
        </p:txBody>
      </p:sp>
      <p:sp>
        <p:nvSpPr>
          <p:cNvPr id="5" name="i$lîďê"/>
          <p:cNvSpPr/>
          <p:nvPr>
            <p:custDataLst>
              <p:tags r:id="rId2"/>
            </p:custDataLst>
          </p:nvPr>
        </p:nvSpPr>
        <p:spPr>
          <a:xfrm>
            <a:off x="1763394" y="1134745"/>
            <a:ext cx="9141039" cy="1164074"/>
          </a:xfrm>
          <a:prstGeom prst="rect">
            <a:avLst/>
          </a:prstGeom>
          <a:noFill/>
          <a:ln>
            <a:noFill/>
          </a:ln>
        </p:spPr>
        <p:txBody>
          <a:bodyPr wrap="square" lIns="91440" tIns="45720" rIns="91440" bIns="45720" anchor="ctr" anchorCtr="0">
            <a:noAutofit/>
          </a:bodyPr>
          <a:lstStyle/>
          <a:p>
            <a:r>
              <a:rPr lang="en-US" altLang="zh-CN" sz="2400" dirty="0" err="1" smtClean="0">
                <a:latin typeface="+mn-ea"/>
              </a:rPr>
              <a:t>Redis</a:t>
            </a:r>
            <a:r>
              <a:rPr lang="zh-CN" altLang="zh-CN" sz="2400" dirty="0">
                <a:latin typeface="+mn-ea"/>
              </a:rPr>
              <a:t>的配置文件在</a:t>
            </a:r>
            <a:r>
              <a:rPr lang="en-US" altLang="zh-CN" sz="2400" dirty="0">
                <a:latin typeface="+mn-ea"/>
              </a:rPr>
              <a:t>Linux</a:t>
            </a:r>
            <a:r>
              <a:rPr lang="zh-CN" altLang="zh-CN" sz="2400" dirty="0">
                <a:latin typeface="+mn-ea"/>
              </a:rPr>
              <a:t>平台是</a:t>
            </a:r>
            <a:r>
              <a:rPr lang="en-US" altLang="zh-CN" sz="2400" dirty="0" err="1">
                <a:latin typeface="+mn-ea"/>
              </a:rPr>
              <a:t>redis.conf</a:t>
            </a:r>
            <a:r>
              <a:rPr lang="zh-CN" altLang="zh-CN" sz="2400" dirty="0">
                <a:latin typeface="+mn-ea"/>
              </a:rPr>
              <a:t>文件，</a:t>
            </a:r>
            <a:r>
              <a:rPr lang="en-US" altLang="zh-CN" sz="2400" dirty="0">
                <a:latin typeface="+mn-ea"/>
              </a:rPr>
              <a:t>Windows</a:t>
            </a:r>
            <a:r>
              <a:rPr lang="zh-CN" altLang="zh-CN" sz="2400" dirty="0">
                <a:latin typeface="+mn-ea"/>
              </a:rPr>
              <a:t>系统下是 </a:t>
            </a:r>
            <a:r>
              <a:rPr lang="en-US" altLang="zh-CN" sz="2400" dirty="0" err="1" smtClean="0">
                <a:latin typeface="+mn-ea"/>
              </a:rPr>
              <a:t>redis.windows.conf</a:t>
            </a:r>
            <a:r>
              <a:rPr lang="zh-CN" altLang="zh-CN" sz="2400" dirty="0" smtClean="0">
                <a:latin typeface="+mn-ea"/>
              </a:rPr>
              <a:t>。</a:t>
            </a:r>
            <a:endParaRPr lang="zh-CN" altLang="en-US" sz="2400" dirty="0">
              <a:latin typeface="+mn-ea"/>
            </a:endParaRPr>
          </a:p>
        </p:txBody>
      </p:sp>
      <p:sp>
        <p:nvSpPr>
          <p:cNvPr id="14" name="íSlíḋe"/>
          <p:cNvSpPr/>
          <p:nvPr>
            <p:custDataLst>
              <p:tags r:id="rId3"/>
            </p:custDataLst>
          </p:nvPr>
        </p:nvSpPr>
        <p:spPr>
          <a:xfrm>
            <a:off x="1274468" y="1233858"/>
            <a:ext cx="261148" cy="228804"/>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sp>
        <p:nvSpPr>
          <p:cNvPr id="15" name="ïśḷïḓe"/>
          <p:cNvSpPr/>
          <p:nvPr>
            <p:custDataLst>
              <p:tags r:id="rId4"/>
            </p:custDataLst>
          </p:nvPr>
        </p:nvSpPr>
        <p:spPr>
          <a:xfrm>
            <a:off x="1298961" y="2608266"/>
            <a:ext cx="211585" cy="259306"/>
          </a:xfrm>
          <a:custGeom>
            <a:avLst/>
            <a:gdLst/>
            <a:ahLst/>
            <a:cxnLst/>
            <a:rect l="0" t="0" r="0" b="0"/>
            <a:pathLst>
              <a:path w="120000" h="120000" extrusionOk="0">
                <a:moveTo>
                  <a:pt x="112868" y="119800"/>
                </a:moveTo>
                <a:lnTo>
                  <a:pt x="112868" y="119800"/>
                </a:lnTo>
                <a:cubicBezTo>
                  <a:pt x="6885" y="119800"/>
                  <a:pt x="6885" y="119800"/>
                  <a:pt x="6885" y="119800"/>
                </a:cubicBezTo>
                <a:cubicBezTo>
                  <a:pt x="1721" y="119800"/>
                  <a:pt x="0" y="117004"/>
                  <a:pt x="0" y="114209"/>
                </a:cubicBezTo>
                <a:cubicBezTo>
                  <a:pt x="0" y="64891"/>
                  <a:pt x="0" y="64891"/>
                  <a:pt x="0" y="64891"/>
                </a:cubicBezTo>
                <a:cubicBezTo>
                  <a:pt x="0" y="62096"/>
                  <a:pt x="1721" y="59101"/>
                  <a:pt x="6885" y="59101"/>
                </a:cubicBezTo>
                <a:cubicBezTo>
                  <a:pt x="17213" y="59101"/>
                  <a:pt x="17213" y="59101"/>
                  <a:pt x="17213" y="59101"/>
                </a:cubicBezTo>
                <a:cubicBezTo>
                  <a:pt x="17213" y="33743"/>
                  <a:pt x="17213" y="33743"/>
                  <a:pt x="17213" y="33743"/>
                </a:cubicBezTo>
                <a:cubicBezTo>
                  <a:pt x="17213" y="13976"/>
                  <a:pt x="36393" y="0"/>
                  <a:pt x="59016" y="0"/>
                </a:cubicBezTo>
                <a:cubicBezTo>
                  <a:pt x="83360" y="0"/>
                  <a:pt x="100573" y="13976"/>
                  <a:pt x="100573" y="33743"/>
                </a:cubicBezTo>
                <a:cubicBezTo>
                  <a:pt x="100573" y="36539"/>
                  <a:pt x="98852" y="39534"/>
                  <a:pt x="93688" y="39534"/>
                </a:cubicBezTo>
                <a:cubicBezTo>
                  <a:pt x="90245" y="39534"/>
                  <a:pt x="86803" y="36539"/>
                  <a:pt x="86803" y="33743"/>
                </a:cubicBezTo>
                <a:cubicBezTo>
                  <a:pt x="86803" y="21164"/>
                  <a:pt x="74754" y="11181"/>
                  <a:pt x="59016" y="11181"/>
                </a:cubicBezTo>
                <a:cubicBezTo>
                  <a:pt x="43278" y="11181"/>
                  <a:pt x="31229" y="21164"/>
                  <a:pt x="31229" y="33743"/>
                </a:cubicBezTo>
                <a:cubicBezTo>
                  <a:pt x="31229" y="59101"/>
                  <a:pt x="31229" y="59101"/>
                  <a:pt x="31229" y="59101"/>
                </a:cubicBezTo>
                <a:cubicBezTo>
                  <a:pt x="86803" y="59101"/>
                  <a:pt x="86803" y="59101"/>
                  <a:pt x="86803" y="59101"/>
                </a:cubicBezTo>
                <a:cubicBezTo>
                  <a:pt x="100573" y="59101"/>
                  <a:pt x="100573" y="59101"/>
                  <a:pt x="100573" y="59101"/>
                </a:cubicBezTo>
                <a:cubicBezTo>
                  <a:pt x="112868" y="59101"/>
                  <a:pt x="112868" y="59101"/>
                  <a:pt x="112868" y="59101"/>
                </a:cubicBezTo>
                <a:cubicBezTo>
                  <a:pt x="116311" y="59101"/>
                  <a:pt x="119754" y="62096"/>
                  <a:pt x="119754" y="64891"/>
                </a:cubicBezTo>
                <a:cubicBezTo>
                  <a:pt x="119754" y="114209"/>
                  <a:pt x="119754" y="114209"/>
                  <a:pt x="119754" y="114209"/>
                </a:cubicBezTo>
                <a:cubicBezTo>
                  <a:pt x="119754" y="117004"/>
                  <a:pt x="116311" y="119800"/>
                  <a:pt x="112868" y="119800"/>
                </a:cubicBezTo>
                <a:close/>
                <a:moveTo>
                  <a:pt x="59016" y="70482"/>
                </a:moveTo>
                <a:lnTo>
                  <a:pt x="59016" y="70482"/>
                </a:lnTo>
                <a:cubicBezTo>
                  <a:pt x="52131" y="70482"/>
                  <a:pt x="45000" y="76073"/>
                  <a:pt x="45000" y="81863"/>
                </a:cubicBezTo>
                <a:cubicBezTo>
                  <a:pt x="45000" y="86056"/>
                  <a:pt x="48688" y="90249"/>
                  <a:pt x="52131" y="91647"/>
                </a:cubicBezTo>
                <a:cubicBezTo>
                  <a:pt x="52131" y="103028"/>
                  <a:pt x="52131" y="103028"/>
                  <a:pt x="52131" y="103028"/>
                </a:cubicBezTo>
                <a:cubicBezTo>
                  <a:pt x="52131" y="105823"/>
                  <a:pt x="55573" y="108618"/>
                  <a:pt x="59016" y="108618"/>
                </a:cubicBezTo>
                <a:cubicBezTo>
                  <a:pt x="64180" y="108618"/>
                  <a:pt x="65901" y="105823"/>
                  <a:pt x="65901" y="103028"/>
                </a:cubicBezTo>
                <a:cubicBezTo>
                  <a:pt x="65901" y="91647"/>
                  <a:pt x="65901" y="91647"/>
                  <a:pt x="65901" y="91647"/>
                </a:cubicBezTo>
                <a:cubicBezTo>
                  <a:pt x="71065" y="90249"/>
                  <a:pt x="72786" y="86056"/>
                  <a:pt x="72786" y="81863"/>
                </a:cubicBezTo>
                <a:cubicBezTo>
                  <a:pt x="72786" y="76073"/>
                  <a:pt x="67622" y="70482"/>
                  <a:pt x="59016" y="70482"/>
                </a:cubicBezTo>
                <a:close/>
              </a:path>
            </a:pathLst>
          </a:custGeom>
          <a:solidFill>
            <a:schemeClr val="bg1"/>
          </a:solidFill>
          <a:ln>
            <a:noFill/>
          </a:ln>
          <a:effectLst/>
        </p:spPr>
        <p:txBody>
          <a:bodyPr wrap="square" lIns="91440" tIns="45720" rIns="91440" bIns="45720" anchor="ctr">
            <a:normAutofit fontScale="25000" lnSpcReduction="20000"/>
          </a:bodyPr>
          <a:lstStyle/>
          <a:p>
            <a:pPr algn="ctr"/>
            <a:endParaRPr/>
          </a:p>
        </p:txBody>
      </p:sp>
      <p:cxnSp>
        <p:nvCxnSpPr>
          <p:cNvPr id="22" name="直接连接符 21"/>
          <p:cNvCxnSpPr/>
          <p:nvPr>
            <p:custDataLst>
              <p:tags r:id="rId5"/>
            </p:custDataLst>
          </p:nvPr>
        </p:nvCxnSpPr>
        <p:spPr>
          <a:xfrm>
            <a:off x="1763278" y="6118580"/>
            <a:ext cx="8610350" cy="0"/>
          </a:xfrm>
          <a:prstGeom prst="line">
            <a:avLst/>
          </a:prstGeom>
        </p:spPr>
        <p:style>
          <a:lnRef idx="1">
            <a:schemeClr val="accent1"/>
          </a:lnRef>
          <a:fillRef idx="0">
            <a:schemeClr val="accent1"/>
          </a:fillRef>
          <a:effectRef idx="0">
            <a:schemeClr val="accent1"/>
          </a:effectRef>
          <a:fontRef idx="minor">
            <a:schemeClr val="tx1"/>
          </a:fontRef>
        </p:style>
      </p:cxnSp>
      <p:pic>
        <p:nvPicPr>
          <p:cNvPr id="16" name="图片 15"/>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1008566" y="1348260"/>
            <a:ext cx="527050" cy="527050"/>
          </a:xfrm>
          <a:prstGeom prst="rect">
            <a:avLst/>
          </a:prstGeom>
          <a:ln>
            <a:noFill/>
          </a:ln>
          <a:effectLst>
            <a:softEdge rad="0"/>
          </a:effectLst>
        </p:spPr>
      </p:pic>
      <p:sp>
        <p:nvSpPr>
          <p:cNvPr id="2" name="文本框 1"/>
          <p:cNvSpPr txBox="1"/>
          <p:nvPr/>
        </p:nvSpPr>
        <p:spPr>
          <a:xfrm>
            <a:off x="1871529" y="2298819"/>
            <a:ext cx="8944602" cy="1754326"/>
          </a:xfrm>
          <a:prstGeom prst="rect">
            <a:avLst/>
          </a:prstGeom>
          <a:noFill/>
        </p:spPr>
        <p:txBody>
          <a:bodyPr wrap="square" rtlCol="0">
            <a:spAutoFit/>
          </a:bodyPr>
          <a:lstStyle/>
          <a:p>
            <a:r>
              <a:rPr lang="en-US" altLang="zh-CN" dirty="0"/>
              <a:t>1</a:t>
            </a:r>
            <a:r>
              <a:rPr lang="zh-CN" altLang="zh-CN" dirty="0"/>
              <a:t>，</a:t>
            </a:r>
            <a:r>
              <a:rPr lang="en-US" altLang="zh-CN" dirty="0"/>
              <a:t>RDB</a:t>
            </a:r>
            <a:r>
              <a:rPr lang="zh-CN" altLang="zh-CN" dirty="0"/>
              <a:t>文件路径和</a:t>
            </a:r>
            <a:r>
              <a:rPr lang="zh-CN" altLang="zh-CN" dirty="0" smtClean="0"/>
              <a:t>名称</a:t>
            </a:r>
            <a:r>
              <a:rPr lang="en-US" altLang="zh-CN" dirty="0" smtClean="0"/>
              <a:t/>
            </a:r>
            <a:br>
              <a:rPr lang="en-US" altLang="zh-CN" dirty="0" smtClean="0"/>
            </a:br>
            <a:r>
              <a:rPr lang="en-US" altLang="zh-CN" dirty="0"/>
              <a:t>RDB</a:t>
            </a:r>
            <a:r>
              <a:rPr lang="zh-CN" altLang="zh-CN" dirty="0"/>
              <a:t>持久化是默认的持久化方式，默认情况下</a:t>
            </a:r>
            <a:r>
              <a:rPr lang="en-US" altLang="zh-CN" dirty="0" err="1"/>
              <a:t>Redis</a:t>
            </a:r>
            <a:r>
              <a:rPr lang="zh-CN" altLang="zh-CN" dirty="0"/>
              <a:t>会把快照文件存储在当前目录下一个名为</a:t>
            </a:r>
            <a:r>
              <a:rPr lang="en-US" altLang="zh-CN" dirty="0" err="1"/>
              <a:t>dump.rdb</a:t>
            </a:r>
            <a:r>
              <a:rPr lang="zh-CN" altLang="zh-CN" dirty="0"/>
              <a:t>的文件内。如果需要修改文件的存储路径和名称，可以通过修改配置文件</a:t>
            </a:r>
            <a:r>
              <a:rPr lang="en-US" altLang="zh-CN" dirty="0" err="1"/>
              <a:t>redis</a:t>
            </a:r>
            <a:r>
              <a:rPr lang="en-US" altLang="zh-CN" dirty="0"/>
              <a:t>. </a:t>
            </a:r>
            <a:r>
              <a:rPr lang="en-US" altLang="zh-CN" dirty="0" err="1"/>
              <a:t>conf</a:t>
            </a:r>
            <a:r>
              <a:rPr lang="zh-CN" altLang="zh-CN" dirty="0"/>
              <a:t>来实现，需要修改</a:t>
            </a:r>
            <a:r>
              <a:rPr lang="en-US" altLang="zh-CN" dirty="0" err="1"/>
              <a:t>dump.rdb</a:t>
            </a:r>
            <a:r>
              <a:rPr lang="zh-CN" altLang="zh-CN" dirty="0"/>
              <a:t>文件内的</a:t>
            </a:r>
            <a:r>
              <a:rPr lang="en-US" altLang="zh-CN" dirty="0" err="1"/>
              <a:t>dbfilename</a:t>
            </a:r>
            <a:r>
              <a:rPr lang="zh-CN" altLang="zh-CN" dirty="0"/>
              <a:t>参数和</a:t>
            </a:r>
            <a:r>
              <a:rPr lang="en-US" altLang="zh-CN" dirty="0" err="1"/>
              <a:t>dir</a:t>
            </a:r>
            <a:r>
              <a:rPr lang="zh-CN" altLang="zh-CN" dirty="0"/>
              <a:t>参数。</a:t>
            </a:r>
          </a:p>
          <a:p>
            <a:endParaRPr lang="zh-CN" altLang="zh-CN" dirty="0"/>
          </a:p>
          <a:p>
            <a:endParaRPr lang="zh-CN" altLang="en-US" dirty="0"/>
          </a:p>
        </p:txBody>
      </p:sp>
      <p:sp>
        <p:nvSpPr>
          <p:cNvPr id="6" name="文本框 5"/>
          <p:cNvSpPr txBox="1"/>
          <p:nvPr/>
        </p:nvSpPr>
        <p:spPr>
          <a:xfrm>
            <a:off x="1971556" y="3862699"/>
            <a:ext cx="5724644" cy="1477328"/>
          </a:xfrm>
          <a:prstGeom prst="rect">
            <a:avLst/>
          </a:prstGeom>
          <a:noFill/>
        </p:spPr>
        <p:txBody>
          <a:bodyPr wrap="none" rtlCol="0">
            <a:spAutoFit/>
          </a:bodyPr>
          <a:lstStyle/>
          <a:p>
            <a:r>
              <a:rPr lang="en-US" altLang="zh-CN" dirty="0"/>
              <a:t># RDB</a:t>
            </a:r>
            <a:r>
              <a:rPr lang="zh-CN" altLang="en-US" dirty="0"/>
              <a:t>文件名，默认为</a:t>
            </a:r>
            <a:r>
              <a:rPr lang="en-US" altLang="zh-CN" dirty="0" err="1"/>
              <a:t>dump.rdb</a:t>
            </a:r>
            <a:r>
              <a:rPr lang="zh-CN" altLang="en-US" dirty="0"/>
              <a:t>。</a:t>
            </a:r>
          </a:p>
          <a:p>
            <a:r>
              <a:rPr lang="en-US" altLang="zh-CN" dirty="0" err="1"/>
              <a:t>dbfilename</a:t>
            </a:r>
            <a:r>
              <a:rPr lang="en-US" altLang="zh-CN" dirty="0"/>
              <a:t> </a:t>
            </a:r>
            <a:r>
              <a:rPr lang="en-US" altLang="zh-CN" dirty="0" err="1"/>
              <a:t>dump.rdb</a:t>
            </a:r>
            <a:endParaRPr lang="en-US" altLang="zh-CN" dirty="0"/>
          </a:p>
          <a:p>
            <a:endParaRPr lang="en-US" altLang="zh-CN" dirty="0"/>
          </a:p>
          <a:p>
            <a:r>
              <a:rPr lang="en-US" altLang="zh-CN" dirty="0"/>
              <a:t># RDB</a:t>
            </a:r>
            <a:r>
              <a:rPr lang="zh-CN" altLang="en-US" dirty="0"/>
              <a:t>和</a:t>
            </a:r>
            <a:r>
              <a:rPr lang="en-US" altLang="zh-CN" dirty="0"/>
              <a:t>AOF</a:t>
            </a:r>
            <a:r>
              <a:rPr lang="zh-CN" altLang="en-US" dirty="0"/>
              <a:t>文件存放的目录。默认为当前的工作目录</a:t>
            </a:r>
          </a:p>
          <a:p>
            <a:r>
              <a:rPr lang="en-US" altLang="zh-CN" dirty="0" err="1"/>
              <a:t>dir</a:t>
            </a:r>
            <a:r>
              <a:rPr lang="en-US" altLang="zh-CN" dirty="0"/>
              <a:t> /</a:t>
            </a:r>
            <a:r>
              <a:rPr lang="en-US" altLang="zh-CN" dirty="0" err="1"/>
              <a:t>usr</a:t>
            </a:r>
            <a:r>
              <a:rPr lang="en-US" altLang="zh-CN" dirty="0"/>
              <a:t>/local/</a:t>
            </a:r>
            <a:r>
              <a:rPr lang="en-US" altLang="zh-CN" dirty="0" err="1"/>
              <a:t>redis</a:t>
            </a:r>
            <a:r>
              <a:rPr lang="en-US" altLang="zh-CN" dirty="0"/>
              <a:t>/bin</a:t>
            </a:r>
            <a:endParaRPr lang="zh-CN" altLang="en-US" dirty="0"/>
          </a:p>
        </p:txBody>
      </p:sp>
    </p:spTree>
    <p:extLst>
      <p:ext uri="{BB962C8B-B14F-4D97-AF65-F5344CB8AC3E}">
        <p14:creationId xmlns:p14="http://schemas.microsoft.com/office/powerpoint/2010/main" val="39675213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074baa65-1bcf-453b-aed6-4412331b316e"/>
</p:tagLst>
</file>

<file path=ppt/tags/tag10.xml><?xml version="1.0" encoding="utf-8"?>
<p:tagLst xmlns:a="http://schemas.openxmlformats.org/drawingml/2006/main" xmlns:r="http://schemas.openxmlformats.org/officeDocument/2006/relationships" xmlns:p="http://schemas.openxmlformats.org/presentationml/2006/main">
  <p:tag name="MH_OLD_SHAPE_ID" val="20"/>
  <p:tag name="REFSHAPE" val="105553220334584"/>
</p:tagLst>
</file>

<file path=ppt/tags/tag11.xml><?xml version="1.0" encoding="utf-8"?>
<p:tagLst xmlns:a="http://schemas.openxmlformats.org/drawingml/2006/main" xmlns:r="http://schemas.openxmlformats.org/officeDocument/2006/relationships" xmlns:p="http://schemas.openxmlformats.org/presentationml/2006/main">
  <p:tag name="MH_OLD_SHAPE_ID" val="5"/>
  <p:tag name="REFSHAPE" val="105553220336600"/>
</p:tagLst>
</file>

<file path=ppt/tags/tag12.xml><?xml version="1.0" encoding="utf-8"?>
<p:tagLst xmlns:a="http://schemas.openxmlformats.org/drawingml/2006/main" xmlns:r="http://schemas.openxmlformats.org/officeDocument/2006/relationships" xmlns:p="http://schemas.openxmlformats.org/presentationml/2006/main">
  <p:tag name="MH_OLD_SHAPE_ID" val="14"/>
  <p:tag name="REFSHAPE" val="105553220328984"/>
</p:tagLst>
</file>

<file path=ppt/tags/tag13.xml><?xml version="1.0" encoding="utf-8"?>
<p:tagLst xmlns:a="http://schemas.openxmlformats.org/drawingml/2006/main" xmlns:r="http://schemas.openxmlformats.org/officeDocument/2006/relationships" xmlns:p="http://schemas.openxmlformats.org/presentationml/2006/main">
  <p:tag name="MH_OLD_SHAPE_ID" val="15"/>
  <p:tag name="REFSHAPE" val="105553220333240"/>
</p:tagLst>
</file>

<file path=ppt/tags/tag14.xml><?xml version="1.0" encoding="utf-8"?>
<p:tagLst xmlns:a="http://schemas.openxmlformats.org/drawingml/2006/main" xmlns:r="http://schemas.openxmlformats.org/officeDocument/2006/relationships" xmlns:p="http://schemas.openxmlformats.org/presentationml/2006/main">
  <p:tag name="MH_OLD_SHAPE_ID" val="22"/>
  <p:tag name="REFSHAPE" val="10555322031932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KSO_WM_UNIT_TABLE_BEAUTIFY" val="smartTable{58a06314-7e72-4d48-85a8-7253ed818c17}"/>
</p:tagLst>
</file>

<file path=ppt/tags/tag5.xml><?xml version="1.0" encoding="utf-8"?>
<p:tagLst xmlns:a="http://schemas.openxmlformats.org/drawingml/2006/main" xmlns:r="http://schemas.openxmlformats.org/officeDocument/2006/relationships" xmlns:p="http://schemas.openxmlformats.org/presentationml/2006/main">
  <p:tag name="MH_OLD_SHAPE_ID" val="20"/>
  <p:tag name="REFSHAPE" val="105553220334584"/>
</p:tagLst>
</file>

<file path=ppt/tags/tag6.xml><?xml version="1.0" encoding="utf-8"?>
<p:tagLst xmlns:a="http://schemas.openxmlformats.org/drawingml/2006/main" xmlns:r="http://schemas.openxmlformats.org/officeDocument/2006/relationships" xmlns:p="http://schemas.openxmlformats.org/presentationml/2006/main">
  <p:tag name="MH_OLD_SHAPE_ID" val="5"/>
  <p:tag name="REFSHAPE" val="105553220336600"/>
</p:tagLst>
</file>

<file path=ppt/tags/tag7.xml><?xml version="1.0" encoding="utf-8"?>
<p:tagLst xmlns:a="http://schemas.openxmlformats.org/drawingml/2006/main" xmlns:r="http://schemas.openxmlformats.org/officeDocument/2006/relationships" xmlns:p="http://schemas.openxmlformats.org/presentationml/2006/main">
  <p:tag name="MH_OLD_SHAPE_ID" val="14"/>
  <p:tag name="REFSHAPE" val="105553220328984"/>
</p:tagLst>
</file>

<file path=ppt/tags/tag8.xml><?xml version="1.0" encoding="utf-8"?>
<p:tagLst xmlns:a="http://schemas.openxmlformats.org/drawingml/2006/main" xmlns:r="http://schemas.openxmlformats.org/officeDocument/2006/relationships" xmlns:p="http://schemas.openxmlformats.org/presentationml/2006/main">
  <p:tag name="MH_OLD_SHAPE_ID" val="15"/>
  <p:tag name="REFSHAPE" val="105553220333240"/>
</p:tagLst>
</file>

<file path=ppt/tags/tag9.xml><?xml version="1.0" encoding="utf-8"?>
<p:tagLst xmlns:a="http://schemas.openxmlformats.org/drawingml/2006/main" xmlns:r="http://schemas.openxmlformats.org/officeDocument/2006/relationships" xmlns:p="http://schemas.openxmlformats.org/presentationml/2006/main">
  <p:tag name="MH_OLD_SHAPE_ID" val="22"/>
  <p:tag name="REFSHAPE" val="105553220319320"/>
</p:tagLst>
</file>

<file path=ppt/theme/theme1.xml><?xml version="1.0" encoding="utf-8"?>
<a:theme xmlns:a="http://schemas.openxmlformats.org/drawingml/2006/main" name="主题5">
  <a:themeElements>
    <a:clrScheme name="自定义 15">
      <a:dk1>
        <a:srgbClr val="000000"/>
      </a:dk1>
      <a:lt1>
        <a:srgbClr val="FFFFFF"/>
      </a:lt1>
      <a:dk2>
        <a:srgbClr val="768394"/>
      </a:dk2>
      <a:lt2>
        <a:srgbClr val="F0F0F0"/>
      </a:lt2>
      <a:accent1>
        <a:srgbClr val="07416B"/>
      </a:accent1>
      <a:accent2>
        <a:srgbClr val="FFC000"/>
      </a:accent2>
      <a:accent3>
        <a:srgbClr val="00002E"/>
      </a:accent3>
      <a:accent4>
        <a:srgbClr val="031684"/>
      </a:accent4>
      <a:accent5>
        <a:srgbClr val="969696"/>
      </a:accent5>
      <a:accent6>
        <a:srgbClr val="B2B2B2"/>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65</TotalTime>
  <Words>927</Words>
  <Application>Microsoft Office PowerPoint</Application>
  <PresentationFormat>宽屏</PresentationFormat>
  <Paragraphs>128</Paragraphs>
  <Slides>18</Slides>
  <Notes>0</Notes>
  <HiddenSlides>0</HiddenSlides>
  <MMClips>0</MMClips>
  <ScaleCrop>false</ScaleCrop>
  <HeadingPairs>
    <vt:vector size="6" baseType="variant">
      <vt:variant>
        <vt:lpstr>已用的字体</vt:lpstr>
      </vt:variant>
      <vt:variant>
        <vt:i4>8</vt:i4>
      </vt:variant>
      <vt:variant>
        <vt:lpstr>主题</vt:lpstr>
      </vt:variant>
      <vt:variant>
        <vt:i4>1</vt:i4>
      </vt:variant>
      <vt:variant>
        <vt:lpstr>幻灯片标题</vt:lpstr>
      </vt:variant>
      <vt:variant>
        <vt:i4>18</vt:i4>
      </vt:variant>
    </vt:vector>
  </HeadingPairs>
  <TitlesOfParts>
    <vt:vector size="27" baseType="lpstr">
      <vt:lpstr>华文楷体</vt:lpstr>
      <vt:lpstr>宋体</vt:lpstr>
      <vt:lpstr>微软雅黑</vt:lpstr>
      <vt:lpstr>微软雅黑 (正文)</vt:lpstr>
      <vt:lpstr>Arial</vt:lpstr>
      <vt:lpstr>Calibri</vt:lpstr>
      <vt:lpstr>Times New Roman</vt:lpstr>
      <vt:lpstr>Wingdings</vt:lpstr>
      <vt:lpstr>主题5</vt:lpstr>
      <vt:lpstr>Redis 6 开发与实战</vt:lpstr>
      <vt:lpstr>PowerPoint 演示文稿</vt:lpstr>
      <vt:lpstr> 第二章 Redis常用数据 类型及命令</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学 习 进 步 ！</vt:lpstr>
    </vt:vector>
  </TitlesOfParts>
  <Manager>iSlide</Manager>
  <Company>iSlide</Company>
  <LinksUpToDate>false</LinksUpToDate>
  <SharedDoc>false</SharedDoc>
  <HyperlinkBase>https://www.islide.cc</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wangshuo</cp:lastModifiedBy>
  <cp:revision>176</cp:revision>
  <cp:lastPrinted>2021-11-30T03:01:15Z</cp:lastPrinted>
  <dcterms:created xsi:type="dcterms:W3CDTF">2021-11-30T03:01:15Z</dcterms:created>
  <dcterms:modified xsi:type="dcterms:W3CDTF">2021-12-04T03:3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CV">
    <vt:lpwstr>F550D6099EDE423F9644FD0920CD3DFA</vt:lpwstr>
  </property>
  <property fmtid="{D5CDD505-2E9C-101B-9397-08002B2CF9AE}" pid="4" name="KSOProductBuildVer">
    <vt:lpwstr>2052-3.9.3.6359</vt:lpwstr>
  </property>
</Properties>
</file>